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  <p:sldMasterId id="2147483672" r:id="rId5"/>
  </p:sldMasterIdLst>
  <p:notesMasterIdLst>
    <p:notesMasterId r:id="rId12"/>
  </p:notesMasterIdLst>
  <p:sldIdLst>
    <p:sldId id="1891" r:id="rId6"/>
    <p:sldId id="1892" r:id="rId7"/>
    <p:sldId id="1896" r:id="rId8"/>
    <p:sldId id="1897" r:id="rId9"/>
    <p:sldId id="1887" r:id="rId10"/>
    <p:sldId id="1895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FFC000"/>
    <a:srgbClr val="F2F2F2"/>
    <a:srgbClr val="E4E4E4"/>
    <a:srgbClr val="E6E6E6"/>
    <a:srgbClr val="555555"/>
    <a:srgbClr val="000000"/>
    <a:srgbClr val="CBCBCA"/>
    <a:srgbClr val="C1C1C1"/>
    <a:srgbClr val="BCBC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04FD0D-7598-4394-A589-8E6B042A7F51}" v="9" dt="2021-07-13T12:39:49.28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51" autoAdjust="0"/>
    <p:restoredTop sz="94655" autoAdjust="0"/>
  </p:normalViewPr>
  <p:slideViewPr>
    <p:cSldViewPr snapToGrid="0">
      <p:cViewPr varScale="1">
        <p:scale>
          <a:sx n="152" d="100"/>
          <a:sy n="152" d="100"/>
        </p:scale>
        <p:origin x="2976" y="1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FAA84A-E68A-4E51-AF77-A4358D985427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E070B9-BB27-4DAD-947B-1A2F995D12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764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E070B9-BB27-4DAD-947B-1A2F995D128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0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jp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5C407-2ADE-4E76-AAF2-9F7786C49A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646996-264C-4E24-9EF1-FE0F0F3FBD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42B4F5-8A00-4290-86B6-5863DC336C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E60B0C-5566-4CAC-9D66-AA2525DB6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9B1BD-8AB2-4AEA-95BF-09239E8DF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4314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CCEA6-0749-4B16-9746-F8E8A0D9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484BF0-1241-48B5-A356-9F8F33A315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F802F2-D5B9-4357-8BBA-43BA9C2098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C3D2C-824C-43D1-9725-BD7739052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30F15D-3FD6-4B4B-8290-7D3143B37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1115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F92752B-1EE8-4AB2-AB8F-4C51F01B2B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A8FDE99-1EB8-4D74-81D1-4DEC7B6B6E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DC481C-639E-4167-837C-86AF14524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54484C-84EC-4A97-8857-E16601D8E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CB33AB-03C1-49B6-8304-389C58EBD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8257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4113C26-A8A0-4F58-A696-C6742A57B2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789" y="3029995"/>
            <a:ext cx="9630389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6E6BB0-6D6D-483B-96A8-7993672827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318"/>
            <a:ext cx="2266311" cy="569191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85F1894-96E2-48F0-A169-FCB4C6B3E9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1" y="4847660"/>
            <a:ext cx="9602819" cy="745370"/>
          </a:xfrm>
        </p:spPr>
        <p:txBody>
          <a:bodyPr/>
          <a:lstStyle>
            <a:lvl1pPr>
              <a:defRPr sz="1765"/>
            </a:lvl1pPr>
            <a:lvl2pPr>
              <a:defRPr sz="1765"/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8844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D2F9142-6251-4BB1-B90A-DAFD69D513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4841" y="4847661"/>
            <a:ext cx="9609045" cy="727892"/>
          </a:xfrm>
        </p:spPr>
        <p:txBody>
          <a:bodyPr/>
          <a:lstStyle>
            <a:lvl1pPr>
              <a:defRPr sz="1765">
                <a:solidFill>
                  <a:schemeClr val="bg1"/>
                </a:solidFill>
              </a:defRPr>
            </a:lvl1pPr>
            <a:lvl2pPr>
              <a:defRPr sz="1765">
                <a:solidFill>
                  <a:schemeClr val="bg1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1B10E9-B345-4651-9C8F-A65540E0D2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170"/>
            <a:ext cx="2266311" cy="56919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5AABBF63-5EE7-4625-A83E-A11472950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91" y="3029995"/>
            <a:ext cx="9630389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</p:spTree>
    <p:extLst>
      <p:ext uri="{BB962C8B-B14F-4D97-AF65-F5344CB8AC3E}">
        <p14:creationId xmlns:p14="http://schemas.microsoft.com/office/powerpoint/2010/main" val="4082042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15F38AD-64EA-4B26-B7D3-C2F054932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0191069-9A1B-4D96-B56B-775F6023B78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0000">
                  <a:alpha val="15000"/>
                </a:srgbClr>
              </a:gs>
              <a:gs pos="100000">
                <a:srgbClr val="1A1A1A">
                  <a:alpha val="0"/>
                </a:srgb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A784868-C8AF-4D99-9BD8-43CBB496184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170"/>
            <a:ext cx="2266311" cy="569191"/>
          </a:xfrm>
          <a:prstGeom prst="rect">
            <a:avLst/>
          </a:prstGeom>
        </p:spPr>
      </p:pic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18C12CA-FF1E-41F6-84F9-03ED0B84EF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1" y="4847661"/>
            <a:ext cx="9602819" cy="727892"/>
          </a:xfrm>
        </p:spPr>
        <p:txBody>
          <a:bodyPr/>
          <a:lstStyle>
            <a:lvl1pPr>
              <a:defRPr sz="1765">
                <a:solidFill>
                  <a:schemeClr val="bg1"/>
                </a:solidFill>
              </a:defRPr>
            </a:lvl1pPr>
            <a:lvl2pPr>
              <a:defRPr sz="1765">
                <a:solidFill>
                  <a:schemeClr val="bg1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6A627AC-F0E8-4823-99FD-AD035C641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91" y="3029995"/>
            <a:ext cx="9660269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</p:spTree>
    <p:extLst>
      <p:ext uri="{BB962C8B-B14F-4D97-AF65-F5344CB8AC3E}">
        <p14:creationId xmlns:p14="http://schemas.microsoft.com/office/powerpoint/2010/main" val="2086008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5E9C6E-449A-4817-85CC-F95B5FE4225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79045" y="0"/>
            <a:ext cx="8112955" cy="685800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Place Image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9DF1C3-5AEF-45F6-B7A9-64EF29BBFA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319" y="941692"/>
            <a:ext cx="3235580" cy="2097190"/>
          </a:xfrm>
          <a:noFill/>
        </p:spPr>
        <p:txBody>
          <a:bodyPr lIns="0" tIns="0" rIns="0" bIns="182880" anchor="b" anchorCtr="0"/>
          <a:lstStyle>
            <a:lvl1pPr>
              <a:defRPr sz="3137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CBD56B1-C0C9-4444-88C4-D838CFE41F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1" y="3038882"/>
            <a:ext cx="3208011" cy="727892"/>
          </a:xfrm>
        </p:spPr>
        <p:txBody>
          <a:bodyPr/>
          <a:lstStyle>
            <a:lvl1pPr>
              <a:defRPr sz="1765"/>
            </a:lvl1pPr>
            <a:lvl2pPr>
              <a:defRPr sz="1765"/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pic>
        <p:nvPicPr>
          <p:cNvPr id="7" name="MS logo gray - EMF">
            <a:extLst>
              <a:ext uri="{FF2B5EF4-FFF2-40B4-BE49-F238E27FC236}">
                <a16:creationId xmlns:a16="http://schemas.microsoft.com/office/drawing/2014/main" id="{9FD0314E-A151-4D04-AE81-AE3F82C09D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65139" y="449264"/>
            <a:ext cx="935564" cy="200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71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24A379D-BCE5-4A42-8A2B-EABC40EF52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91494" y="445299"/>
            <a:ext cx="7672572" cy="5967539"/>
          </a:xfrm>
          <a:custGeom>
            <a:avLst/>
            <a:gdLst>
              <a:gd name="connsiteX0" fmla="*/ 4336944 w 7826423"/>
              <a:gd name="connsiteY0" fmla="*/ 0 h 6086337"/>
              <a:gd name="connsiteX1" fmla="*/ 7826423 w 7826423"/>
              <a:gd name="connsiteY1" fmla="*/ 0 h 6086337"/>
              <a:gd name="connsiteX2" fmla="*/ 7826423 w 7826423"/>
              <a:gd name="connsiteY2" fmla="*/ 3146741 h 6086337"/>
              <a:gd name="connsiteX3" fmla="*/ 7826422 w 7826423"/>
              <a:gd name="connsiteY3" fmla="*/ 3146741 h 6086337"/>
              <a:gd name="connsiteX4" fmla="*/ 7826422 w 7826423"/>
              <a:gd name="connsiteY4" fmla="*/ 3617978 h 6086337"/>
              <a:gd name="connsiteX5" fmla="*/ 7826422 w 7826423"/>
              <a:gd name="connsiteY5" fmla="*/ 4055368 h 6086337"/>
              <a:gd name="connsiteX6" fmla="*/ 7826422 w 7826423"/>
              <a:gd name="connsiteY6" fmla="*/ 6086337 h 6086337"/>
              <a:gd name="connsiteX7" fmla="*/ 1795149 w 7826423"/>
              <a:gd name="connsiteY7" fmla="*/ 6086337 h 6086337"/>
              <a:gd name="connsiteX8" fmla="*/ 1795149 w 7826423"/>
              <a:gd name="connsiteY8" fmla="*/ 4055924 h 6086337"/>
              <a:gd name="connsiteX9" fmla="*/ 0 w 7826423"/>
              <a:gd name="connsiteY9" fmla="*/ 4055924 h 6086337"/>
              <a:gd name="connsiteX10" fmla="*/ 0 w 7826423"/>
              <a:gd name="connsiteY10" fmla="*/ 2030915 h 6086337"/>
              <a:gd name="connsiteX11" fmla="*/ 4336944 w 7826423"/>
              <a:gd name="connsiteY11" fmla="*/ 2030915 h 6086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26423" h="6086337">
                <a:moveTo>
                  <a:pt x="4336944" y="0"/>
                </a:moveTo>
                <a:lnTo>
                  <a:pt x="7826423" y="0"/>
                </a:lnTo>
                <a:lnTo>
                  <a:pt x="7826423" y="3146741"/>
                </a:lnTo>
                <a:lnTo>
                  <a:pt x="7826422" y="3146741"/>
                </a:lnTo>
                <a:lnTo>
                  <a:pt x="7826422" y="3617978"/>
                </a:lnTo>
                <a:lnTo>
                  <a:pt x="7826422" y="4055368"/>
                </a:lnTo>
                <a:lnTo>
                  <a:pt x="7826422" y="6086337"/>
                </a:lnTo>
                <a:lnTo>
                  <a:pt x="1795149" y="6086337"/>
                </a:lnTo>
                <a:lnTo>
                  <a:pt x="1795149" y="4055924"/>
                </a:lnTo>
                <a:lnTo>
                  <a:pt x="0" y="4055924"/>
                </a:lnTo>
                <a:lnTo>
                  <a:pt x="0" y="2030915"/>
                </a:lnTo>
                <a:lnTo>
                  <a:pt x="4336944" y="2030915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nge image by clicking on “insert” pi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474019-F28F-4D82-8526-2A17246A9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318"/>
            <a:ext cx="2266311" cy="56919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39DF1C3-5AEF-45F6-B7A9-64EF29BBFA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319" y="941692"/>
            <a:ext cx="3235580" cy="2097190"/>
          </a:xfrm>
          <a:noFill/>
        </p:spPr>
        <p:txBody>
          <a:bodyPr lIns="0" tIns="0" rIns="0" bIns="182880" anchor="b" anchorCtr="0"/>
          <a:lstStyle>
            <a:lvl1pPr>
              <a:defRPr sz="3137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CBD56B1-C0C9-4444-88C4-D838CFE41F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1" y="3038882"/>
            <a:ext cx="3208011" cy="727892"/>
          </a:xfrm>
        </p:spPr>
        <p:txBody>
          <a:bodyPr/>
          <a:lstStyle>
            <a:lvl1pPr>
              <a:defRPr sz="1765"/>
            </a:lvl1pPr>
            <a:lvl2pPr>
              <a:defRPr sz="1765"/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08545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1168943"/>
            <a:ext cx="3618381" cy="899665"/>
          </a:xfrm>
        </p:spPr>
        <p:txBody>
          <a:bodyPr lIns="0" tIns="0" rIns="0" bIns="0"/>
          <a:lstStyle>
            <a:lvl1pPr>
              <a:defRPr sz="1765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9843" y="1168943"/>
            <a:ext cx="3837818" cy="3786998"/>
          </a:xfrm>
        </p:spPr>
        <p:txBody>
          <a:bodyPr wrap="square" lIns="0" tIns="0" rIns="0" bIns="0">
            <a:noAutofit/>
          </a:bodyPr>
          <a:lstStyle>
            <a:lvl1pPr marL="0" indent="0" defTabSz="507330">
              <a:spcAft>
                <a:spcPts val="490"/>
              </a:spcAft>
              <a:buNone/>
              <a:defRPr sz="1765" spc="0" baseline="0">
                <a:solidFill>
                  <a:schemeClr val="tx2"/>
                </a:solidFill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 dirty="0"/>
              <a:t>##	Section Title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FD6D9E34-4CC8-4DC0-9040-97073FD747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25708306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802"/>
            <a:ext cx="11306469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 spc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ts val="2353"/>
              </a:lnSpc>
              <a:buNone/>
              <a:defRPr spc="0"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Large: subhead Segoe UI </a:t>
            </a:r>
            <a:r>
              <a:rPr lang="en-US" dirty="0" err="1"/>
              <a:t>Semibold</a:t>
            </a:r>
            <a:r>
              <a:rPr lang="en-US" dirty="0"/>
              <a:t> 20/24</a:t>
            </a:r>
          </a:p>
          <a:p>
            <a:pPr lvl="1"/>
            <a:r>
              <a:rPr lang="en-US" dirty="0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51388"/>
            <a:ext cx="11306469" cy="443839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None/>
              <a:defRPr sz="1372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 spc="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Medium: 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UI Regular 14/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995" y="4352947"/>
            <a:ext cx="11306469" cy="331946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0"/>
              </a:spcBef>
              <a:buNone/>
              <a:defRPr sz="980" spc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80" spc="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0" indent="0">
              <a:lnSpc>
                <a:spcPct val="100000"/>
              </a:lnSpc>
              <a:buNone/>
              <a:defRPr/>
            </a:lvl5pPr>
          </a:lstStyle>
          <a:p>
            <a:pPr lvl="4"/>
            <a:r>
              <a:rPr lang="en-US" dirty="0"/>
              <a:t>Small caption: Segoe UI Bold 10/12</a:t>
            </a:r>
          </a:p>
          <a:p>
            <a:pPr lvl="1"/>
            <a:r>
              <a:rPr lang="en-US" dirty="0"/>
              <a:t>Small caption Segoe Regular 10/12</a:t>
            </a:r>
          </a:p>
        </p:txBody>
      </p:sp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375CD45A-5065-443B-A271-689E522B15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30562546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7"/>
            <a:ext cx="9384447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196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Subhead Segoe UI Regular 20/24. Dis </a:t>
            </a:r>
            <a:r>
              <a:rPr lang="en-US" dirty="0" err="1"/>
              <a:t>apid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it</a:t>
            </a:r>
            <a:r>
              <a:rPr lang="en-US" dirty="0"/>
              <a:t>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r>
              <a:rPr lang="en-US" dirty="0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51388"/>
            <a:ext cx="3618381" cy="267522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rgbClr val="008C7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3383CEA-4FEB-4C9E-B7D6-3B36BC8EB7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449" y="3151388"/>
            <a:ext cx="3618381" cy="267522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rgbClr val="008C7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5007055-7118-477F-B301-DB401591FA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49960" y="3151388"/>
            <a:ext cx="3618381" cy="267522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rgbClr val="008C7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C3334197-F6FD-4697-BB72-4AD1810C0B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44452245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68BE4C-C3B8-4C91-A54D-AB15F9437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4551F1-BA60-4321-83F6-9FBE7E6B51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1093D7-581A-4E10-A813-552232179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B48B1-0CF5-4F9B-9C71-B83961362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36A536-0EFC-4E30-BA71-7F7C04F2B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0797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2: two columns copy heavy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9E39B6D-21AF-485C-B606-D6EA24898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995" y="2363623"/>
            <a:ext cx="3618381" cy="2435151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0D85DDD-B7EA-4D73-BA98-A5ACF1DB2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3151" y="2363623"/>
            <a:ext cx="3618381" cy="2435151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7" name="Footer Placeholder 14">
            <a:extLst>
              <a:ext uri="{FF2B5EF4-FFF2-40B4-BE49-F238E27FC236}">
                <a16:creationId xmlns:a16="http://schemas.microsoft.com/office/drawing/2014/main" id="{DB61DE79-74B8-40AA-A2F6-483C4BB58B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193254345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464958" y="1599724"/>
            <a:ext cx="3609417" cy="3099393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4927922"/>
            <a:ext cx="3618381" cy="118606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118606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25" name="Content Placeholder 15">
            <a:extLst>
              <a:ext uri="{FF2B5EF4-FFF2-40B4-BE49-F238E27FC236}">
                <a16:creationId xmlns:a16="http://schemas.microsoft.com/office/drawing/2014/main" id="{FF38BC9F-387A-498E-A040-4619A490AED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00039" y="1599724"/>
            <a:ext cx="3609417" cy="3099393"/>
          </a:xfrm>
          <a:blipFill>
            <a:blip r:embed="rId3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EEF5E46D-3409-4544-8C4E-211F133E580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44083" y="1599722"/>
            <a:ext cx="3609417" cy="3099394"/>
          </a:xfrm>
          <a:blipFill>
            <a:blip r:embed="rId4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97742EC-5845-4BB1-84A3-00C1CF8901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3151" y="4927922"/>
            <a:ext cx="3618381" cy="118606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1" name="Footer Placeholder 14">
            <a:extLst>
              <a:ext uri="{FF2B5EF4-FFF2-40B4-BE49-F238E27FC236}">
                <a16:creationId xmlns:a16="http://schemas.microsoft.com/office/drawing/2014/main" id="{AE158E7B-0220-41AE-9E99-77C380735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401118284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455995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4: Six columns (numbered li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67818"/>
            <a:ext cx="1693247" cy="277879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78328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00662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222995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145328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067660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2378328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4300662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8" hasCustomPrompt="1"/>
          </p:nvPr>
        </p:nvSpPr>
        <p:spPr>
          <a:xfrm>
            <a:off x="6222995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8145328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30" hasCustomPrompt="1"/>
          </p:nvPr>
        </p:nvSpPr>
        <p:spPr>
          <a:xfrm>
            <a:off x="10067660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FF16C0-0541-41AD-98F7-A469609E8D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5995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1.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95171A5B-905D-4832-B11A-13594619F33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79573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2.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DBE933A-166C-4934-8425-2A89AAA21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03151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3.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171069D2-CF68-4D89-9134-20A61AFA10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29842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4.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77858A5B-7408-41FF-9369-C0F9B773A3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39413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5.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AF637A76-D1E1-49A2-AF33-3521BBC721C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067660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6.</a:t>
            </a:r>
          </a:p>
        </p:txBody>
      </p:sp>
      <p:sp>
        <p:nvSpPr>
          <p:cNvPr id="42" name="Footer Placeholder 14">
            <a:extLst>
              <a:ext uri="{FF2B5EF4-FFF2-40B4-BE49-F238E27FC236}">
                <a16:creationId xmlns:a16="http://schemas.microsoft.com/office/drawing/2014/main" id="{616DC816-DD19-4FC8-9708-971C4080E2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95673317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strike="noStrik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Footer Placeholder 14">
            <a:extLst>
              <a:ext uri="{FF2B5EF4-FFF2-40B4-BE49-F238E27FC236}">
                <a16:creationId xmlns:a16="http://schemas.microsoft.com/office/drawing/2014/main" id="{1828F2BE-04D0-4952-849E-6909AD3A60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275269808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859BFBD-0C43-4396-A7CE-8A9189BB091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82157" y="441278"/>
            <a:ext cx="7694313" cy="5975443"/>
          </a:xfrm>
          <a:custGeom>
            <a:avLst/>
            <a:gdLst>
              <a:gd name="connsiteX0" fmla="*/ 1677339 w 7848600"/>
              <a:gd name="connsiteY0" fmla="*/ 0 h 6094399"/>
              <a:gd name="connsiteX1" fmla="*/ 7848600 w 7848600"/>
              <a:gd name="connsiteY1" fmla="*/ 0 h 6094399"/>
              <a:gd name="connsiteX2" fmla="*/ 7848600 w 7848600"/>
              <a:gd name="connsiteY2" fmla="*/ 1727324 h 6094399"/>
              <a:gd name="connsiteX3" fmla="*/ 7848600 w 7848600"/>
              <a:gd name="connsiteY3" fmla="*/ 1998096 h 6094399"/>
              <a:gd name="connsiteX4" fmla="*/ 7848600 w 7848600"/>
              <a:gd name="connsiteY4" fmla="*/ 4043676 h 6094399"/>
              <a:gd name="connsiteX5" fmla="*/ 7848600 w 7848600"/>
              <a:gd name="connsiteY5" fmla="*/ 4332318 h 6094399"/>
              <a:gd name="connsiteX6" fmla="*/ 7848600 w 7848600"/>
              <a:gd name="connsiteY6" fmla="*/ 6094399 h 6094399"/>
              <a:gd name="connsiteX7" fmla="*/ 0 w 7848600"/>
              <a:gd name="connsiteY7" fmla="*/ 6094399 h 6094399"/>
              <a:gd name="connsiteX8" fmla="*/ 0 w 7848600"/>
              <a:gd name="connsiteY8" fmla="*/ 4043676 h 6094399"/>
              <a:gd name="connsiteX9" fmla="*/ 3059479 w 7848600"/>
              <a:gd name="connsiteY9" fmla="*/ 4043676 h 6094399"/>
              <a:gd name="connsiteX10" fmla="*/ 3059479 w 7848600"/>
              <a:gd name="connsiteY10" fmla="*/ 1998096 h 6094399"/>
              <a:gd name="connsiteX11" fmla="*/ 1677339 w 7848600"/>
              <a:gd name="connsiteY11" fmla="*/ 1998096 h 609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48600" h="6094399">
                <a:moveTo>
                  <a:pt x="1677339" y="0"/>
                </a:moveTo>
                <a:lnTo>
                  <a:pt x="7848600" y="0"/>
                </a:lnTo>
                <a:lnTo>
                  <a:pt x="7848600" y="1727324"/>
                </a:lnTo>
                <a:lnTo>
                  <a:pt x="7848600" y="1998096"/>
                </a:lnTo>
                <a:lnTo>
                  <a:pt x="7848600" y="4043676"/>
                </a:lnTo>
                <a:lnTo>
                  <a:pt x="7848600" y="4332318"/>
                </a:lnTo>
                <a:lnTo>
                  <a:pt x="7848600" y="6094399"/>
                </a:lnTo>
                <a:lnTo>
                  <a:pt x="0" y="6094399"/>
                </a:lnTo>
                <a:lnTo>
                  <a:pt x="0" y="4043676"/>
                </a:lnTo>
                <a:lnTo>
                  <a:pt x="3059479" y="4043676"/>
                </a:lnTo>
                <a:lnTo>
                  <a:pt x="3059479" y="1998096"/>
                </a:lnTo>
                <a:lnTo>
                  <a:pt x="1677339" y="199809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lIns="3383280" rIns="27432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nge image by clicking on “insert” picture.</a:t>
            </a:r>
          </a:p>
        </p:txBody>
      </p:sp>
      <p:sp>
        <p:nvSpPr>
          <p:cNvPr id="3" name="Title 35">
            <a:extLst>
              <a:ext uri="{FF2B5EF4-FFF2-40B4-BE49-F238E27FC236}">
                <a16:creationId xmlns:a16="http://schemas.microsoft.com/office/drawing/2014/main" id="{88C3AFD5-6B99-4036-8067-D643B2A9D2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941692"/>
            <a:ext cx="4885203" cy="326089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6293900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994" y="941692"/>
            <a:ext cx="7454643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467940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5">
            <a:extLst>
              <a:ext uri="{FF2B5EF4-FFF2-40B4-BE49-F238E27FC236}">
                <a16:creationId xmlns:a16="http://schemas.microsoft.com/office/drawing/2014/main" id="{60388DA1-8C2D-4FFD-88BD-DE4D7CEFD0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4" y="941692"/>
            <a:ext cx="7454643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accent5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77689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29842" y="0"/>
            <a:ext cx="5962158" cy="68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554195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hoto layout 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31D123-CA1A-4568-88C8-6B1287D07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994" y="2363623"/>
            <a:ext cx="4822952" cy="264890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56201C-07C6-4B48-97C5-8ACFF3D0A9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5995" y="1922587"/>
            <a:ext cx="4822951" cy="28777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196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Subhead Segoe UI Regular 20/24. </a:t>
            </a:r>
          </a:p>
        </p:txBody>
      </p:sp>
      <p:sp>
        <p:nvSpPr>
          <p:cNvPr id="7" name="Footer Placeholder 14">
            <a:extLst>
              <a:ext uri="{FF2B5EF4-FFF2-40B4-BE49-F238E27FC236}">
                <a16:creationId xmlns:a16="http://schemas.microsoft.com/office/drawing/2014/main" id="{7397557A-B9E9-4375-BD93-C4F91A7803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</a:t>
            </a:r>
          </a:p>
        </p:txBody>
      </p:sp>
    </p:spTree>
    <p:extLst>
      <p:ext uri="{BB962C8B-B14F-4D97-AF65-F5344CB8AC3E}">
        <p14:creationId xmlns:p14="http://schemas.microsoft.com/office/powerpoint/2010/main" val="271435217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55995" y="2158885"/>
            <a:ext cx="3618381" cy="254023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303151" y="2158885"/>
            <a:ext cx="3607487" cy="2540231"/>
          </a:xfrm>
          <a:blipFill>
            <a:blip r:embed="rId3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8139413" y="2158885"/>
            <a:ext cx="3623050" cy="2540231"/>
          </a:xfrm>
          <a:blipFill>
            <a:blip r:embed="rId4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hoto layout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4927922"/>
            <a:ext cx="3618381" cy="1186064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00039" y="4927922"/>
            <a:ext cx="3618381" cy="1186064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>
                <a:solidFill>
                  <a:srgbClr val="008C72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1186064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>
                <a:solidFill>
                  <a:srgbClr val="008C72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6" name="Footer Placeholder 14">
            <a:extLst>
              <a:ext uri="{FF2B5EF4-FFF2-40B4-BE49-F238E27FC236}">
                <a16:creationId xmlns:a16="http://schemas.microsoft.com/office/drawing/2014/main" id="{3CC8D48C-0AE0-489F-AD07-46162F3D69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370191546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4B95F29-56C3-4C85-A12B-0B0BE769E7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4" y="418150"/>
            <a:ext cx="7747227" cy="64398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802"/>
            <a:ext cx="4758211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 dirty="0"/>
              <a:t>Large subhead Segoe UI Regular 20/24. Em volor resequaectur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2707597"/>
            <a:ext cx="4758210" cy="2521331"/>
          </a:xfr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 spc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34476FE-7091-4DE7-A55E-3EF5A6569A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421009"/>
            <a:ext cx="5834041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Footer Placeholder 14">
            <a:extLst>
              <a:ext uri="{FF2B5EF4-FFF2-40B4-BE49-F238E27FC236}">
                <a16:creationId xmlns:a16="http://schemas.microsoft.com/office/drawing/2014/main" id="{B9AEC771-481D-4FF6-AD08-FD4DD79D2C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Dynamics 365 </a:t>
            </a:r>
          </a:p>
        </p:txBody>
      </p:sp>
    </p:spTree>
    <p:extLst>
      <p:ext uri="{BB962C8B-B14F-4D97-AF65-F5344CB8AC3E}">
        <p14:creationId xmlns:p14="http://schemas.microsoft.com/office/powerpoint/2010/main" val="40464732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543E2E-C560-4C74-84AE-7161C4F02F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1268CA-7D18-4072-95EC-323592896E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B6D24C-CB4E-4A4D-98D2-F2BB72C6A4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6ECD5-305E-4F25-996D-0B9F38B31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F9FD69-0858-4F58-A2DE-F57C3560F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1540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99DE98C-91A8-4163-A280-8BB561692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4" y="418150"/>
            <a:ext cx="7747227" cy="6439851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784CA30E-A92E-4E40-944A-73B1CF9EEE0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421009"/>
            <a:ext cx="5834041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D17D4B4-B6B9-4273-ACCB-7A5ED46F35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672" y="2000738"/>
            <a:ext cx="1693247" cy="3034292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B204BE2-B985-4315-8D5B-9C54B1074D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5798" y="2000738"/>
            <a:ext cx="1693247" cy="3034292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89045D2-7C49-4F5C-A376-228A5A2B0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2: two columns</a:t>
            </a:r>
          </a:p>
        </p:txBody>
      </p:sp>
      <p:sp>
        <p:nvSpPr>
          <p:cNvPr id="16" name="Footer Placeholder 14">
            <a:extLst>
              <a:ext uri="{FF2B5EF4-FFF2-40B4-BE49-F238E27FC236}">
                <a16:creationId xmlns:a16="http://schemas.microsoft.com/office/drawing/2014/main" id="{6FCE5757-E538-4E4B-BB66-DA966C94A7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Dynamics 365 </a:t>
            </a:r>
          </a:p>
        </p:txBody>
      </p:sp>
    </p:spTree>
    <p:extLst>
      <p:ext uri="{BB962C8B-B14F-4D97-AF65-F5344CB8AC3E}">
        <p14:creationId xmlns:p14="http://schemas.microsoft.com/office/powerpoint/2010/main" val="362360133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3CDB1EA-72FB-46B3-89D4-DEE1F2EF7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249" y="486947"/>
            <a:ext cx="10869930" cy="63710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3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0473E679-3B6D-497A-A0F6-454C968B76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293976" y="3488254"/>
            <a:ext cx="7678751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Footer Placeholder 14">
            <a:extLst>
              <a:ext uri="{FF2B5EF4-FFF2-40B4-BE49-F238E27FC236}">
                <a16:creationId xmlns:a16="http://schemas.microsoft.com/office/drawing/2014/main" id="{094367A8-7AEF-4C78-AF93-670FC65820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156513485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55996" y="1950780"/>
            <a:ext cx="3618377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rt examp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5992" y="5857162"/>
            <a:ext cx="3618381" cy="301770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  <a:defRPr sz="980" b="0" i="0" spc="0">
                <a:solidFill>
                  <a:schemeClr val="tx1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98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03152" y="5857162"/>
            <a:ext cx="3607487" cy="301770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spc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03152" y="1950780"/>
            <a:ext cx="3607487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139412" y="1950780"/>
            <a:ext cx="3623051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BB6B82-41EF-4F96-AC4D-4B6DF0A1F5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991" y="5670381"/>
            <a:ext cx="3629278" cy="243143"/>
          </a:xfrm>
        </p:spPr>
        <p:txBody>
          <a:bodyPr tIns="0"/>
          <a:lstStyle>
            <a:lvl1pPr>
              <a:defRPr lang="en-US" sz="98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FC93-5F54-47F0-9569-BECC76A76C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14044" y="5670381"/>
            <a:ext cx="3629278" cy="243143"/>
          </a:xfrm>
        </p:spPr>
        <p:txBody>
          <a:bodyPr tIns="0"/>
          <a:lstStyle>
            <a:lvl1pPr>
              <a:defRPr lang="en-US" sz="98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EDACCCB-301A-4273-9EA6-AD055BB5B0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9413" y="5670381"/>
            <a:ext cx="3629278" cy="243143"/>
          </a:xfrm>
        </p:spPr>
        <p:txBody>
          <a:bodyPr tIns="0"/>
          <a:lstStyle>
            <a:lvl1pPr>
              <a:defRPr lang="en-US" sz="98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7057046-E219-41F6-8045-1E763292CB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39413" y="5857162"/>
            <a:ext cx="3607487" cy="301770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spc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25" name="Footer Placeholder 14">
            <a:extLst>
              <a:ext uri="{FF2B5EF4-FFF2-40B4-BE49-F238E27FC236}">
                <a16:creationId xmlns:a16="http://schemas.microsoft.com/office/drawing/2014/main" id="{0C981775-2AD3-4822-BEA1-B9C42963F1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171927618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55995" y="3924852"/>
            <a:ext cx="11306469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0C46E0E1-3C9A-40D4-B021-A6836C885D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247433744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medium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54170" y="6451197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solidFill>
                  <a:schemeClr val="bg1"/>
                </a:solidFill>
                <a:cs typeface="Segoe UI" pitchFamily="34" charset="0"/>
              </a:rPr>
              <a:t>© Copyright Contoso Corporation. All rights reserved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1845277"/>
            <a:ext cx="7454644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49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878A76-48F5-40B8-BC33-2551AA074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170"/>
            <a:ext cx="2266311" cy="569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557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1845277"/>
            <a:ext cx="7454644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49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878A76-48F5-40B8-BC33-2551AA074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170"/>
            <a:ext cx="2266311" cy="569191"/>
          </a:xfrm>
          <a:prstGeom prst="rect">
            <a:avLst/>
          </a:prstGeom>
        </p:spPr>
      </p:pic>
      <p:sp>
        <p:nvSpPr>
          <p:cNvPr id="5" name="Text Box 3">
            <a:extLst>
              <a:ext uri="{FF2B5EF4-FFF2-40B4-BE49-F238E27FC236}">
                <a16:creationId xmlns:a16="http://schemas.microsoft.com/office/drawing/2014/main" id="{0AFD6FAE-B215-4CF5-A1C7-AE7803BB4E41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70" y="6451197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solidFill>
                  <a:schemeClr val="bg1"/>
                </a:solidFill>
                <a:cs typeface="Segoe UI" pitchFamily="34" charset="0"/>
              </a:rPr>
              <a:t>© Copyright Contoso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391408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4C1850-4114-4005-AEA4-A4112AB27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43F9BE-ECF8-4FCB-B7B1-9F5DA28D683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EB4D62-8A29-4FB6-9A69-B1FC4CEECF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CD9454-E929-4A4E-97F1-E4F5EC0DE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4DC52B-2805-4102-83BC-D8FACDCC1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2F6ED3-873D-491C-A9EA-329B8848A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414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D7803-325E-437D-A13B-C5114C770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2FEE6-1D62-492E-983A-3AB5694E08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0F908A-C700-4F08-B19A-14AA6BFBBB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AE25A0-A4C6-4796-8A05-7FA9E8290C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AC1B00-9DF1-4D70-81BC-00E27B40D6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78DA93-A3AA-4374-B9F3-0B53EAD9F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6D15544-2DD9-4A5F-9D17-72851ECD3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C19054-36FB-4D1D-A1D9-3B9984CE3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2231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AAAD4-E373-4C9B-BB43-9351DD125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47C147-CF9F-45D3-A028-BD94741A92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CC58F7-4864-4444-A9A9-6255656F9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C3A8E7-BCD5-4538-ABDA-82877FF47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1696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ED3F4-B04F-4500-A4F4-945309B68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5866FF-C70E-4AC0-ACE4-2D335F09B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E7672C-B07F-4DF8-883C-D857CD9F4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6898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B7FB27-50F1-4AE5-95A5-9D6D98661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E36F24-54B6-47AA-B83A-CF6AA2E5C4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EEF32D-AF39-4A4B-9676-01291F9E6F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EE5028-872F-42FA-9BA6-6D356C99C8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21F164-068E-49F3-B1F4-A6C141512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F9E147-046B-4A89-8259-15A7B2BBD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719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42F45-CBD1-4BE7-A3C0-2BD5F5E2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DE2D04-BC46-42DA-8D37-2F51C5EACA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8974F3-5146-47C1-AB85-6C1E63AD7B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A6F38D-1BE7-447B-B739-FA63391A77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CFF75D-346C-4E0C-AF41-F70B5DD1A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BF8533-ABDF-431C-AE73-57D77403C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6164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0AC7994-7AC7-4845-A412-E5142E8A62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61101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11" imgH="411" progId="TCLayout.ActiveDocument.1">
                  <p:embed/>
                </p:oleObj>
              </mc:Choice>
              <mc:Fallback>
                <p:oleObj name="think-cell Slide" r:id="rId15" imgW="411" imgH="41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0AC7994-7AC7-4845-A412-E5142E8A62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2328CD2-E825-4892-99E0-C711D8B0A6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2BDBB4-1082-4DED-9DD6-442825468E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B45AFD-7A40-40E7-B657-1AFAA673D3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799691-5569-4CCE-99C9-4110F2AE67E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020F5B-5431-4448-B3BC-CF85386F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49D20C-31A8-4B01-844F-A2BAAA86A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91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34B07E-DA5F-4835-AFE0-0438B62AE0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75484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8" imgW="411" imgH="411" progId="TCLayout.ActiveDocument.1">
                  <p:embed/>
                </p:oleObj>
              </mc:Choice>
              <mc:Fallback>
                <p:oleObj name="think-cell Slide" r:id="rId28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34B07E-DA5F-4835-AFE0-0438B62AE0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994" y="556381"/>
            <a:ext cx="11306469" cy="813819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/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5994" y="1817559"/>
            <a:ext cx="11306469" cy="2323623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/>
          <a:p>
            <a:pPr lvl="0"/>
            <a:r>
              <a:rPr lang="en-US" dirty="0"/>
              <a:t>H2 Segoe UI </a:t>
            </a:r>
            <a:r>
              <a:rPr lang="en-US" dirty="0" err="1"/>
              <a:t>Semibold</a:t>
            </a:r>
            <a:r>
              <a:rPr lang="en-US" dirty="0"/>
              <a:t> 20/24</a:t>
            </a:r>
          </a:p>
          <a:p>
            <a:pPr lvl="1"/>
            <a:r>
              <a:rPr lang="en-US" dirty="0"/>
              <a:t>B1 Segoe UI Regular 20/24 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H3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3"/>
            <a:r>
              <a:rPr lang="en-US" dirty="0"/>
              <a:t>B2 Segoe UI Regular 14/18</a:t>
            </a:r>
          </a:p>
          <a:p>
            <a:pPr lvl="3"/>
            <a:endParaRPr lang="en-US" dirty="0"/>
          </a:p>
          <a:p>
            <a:pPr lvl="4"/>
            <a:r>
              <a:rPr lang="en-US" dirty="0"/>
              <a:t>H4 Segoe UI Bold 10/12</a:t>
            </a:r>
          </a:p>
          <a:p>
            <a:pPr lvl="6"/>
            <a:r>
              <a:rPr lang="en-US" dirty="0"/>
              <a:t>B3 Segoe UI Regular 10/12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99A560D-F2FE-428C-A24D-30E7600CC7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2876690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2745" b="0" kern="1200" cap="none" spc="-49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3" kern="1200" spc="-49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chemeClr val="tx2"/>
          </a:solidFill>
          <a:latin typeface="+mj-lt"/>
          <a:ea typeface="+mn-ea"/>
          <a:cs typeface="+mn-cs"/>
        </a:defRPr>
      </a:lvl3pPr>
      <a:lvl4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176" b="1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285916" indent="0" algn="l" defTabSz="914367" rtl="0" eaLnBrk="1" latinLnBrk="0" hangingPunct="1">
        <a:spcBef>
          <a:spcPct val="20000"/>
        </a:spcBef>
        <a:buFont typeface="Arial" pitchFamily="34" charset="0"/>
        <a:buNone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6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1176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1" pos="1349">
          <p15:clr>
            <a:srgbClr val="C35EA4"/>
          </p15:clr>
        </p15:guide>
        <p15:guide id="32" pos="1528">
          <p15:clr>
            <a:srgbClr val="C35EA4"/>
          </p15:clr>
        </p15:guide>
        <p15:guide id="33" pos="2621">
          <p15:clr>
            <a:srgbClr val="C35EA4"/>
          </p15:clr>
        </p15:guide>
        <p15:guide id="34" pos="2765">
          <p15:clr>
            <a:srgbClr val="C35EA4"/>
          </p15:clr>
        </p15:guide>
        <p15:guide id="35" pos="3854">
          <p15:clr>
            <a:srgbClr val="C35EA4"/>
          </p15:clr>
        </p15:guide>
        <p15:guide id="36" pos="4003">
          <p15:clr>
            <a:srgbClr val="C35EA4"/>
          </p15:clr>
        </p15:guide>
        <p15:guide id="37" pos="5083">
          <p15:clr>
            <a:srgbClr val="C35EA4"/>
          </p15:clr>
        </p15:guide>
        <p15:guide id="38" pos="5230">
          <p15:clr>
            <a:srgbClr val="C35EA4"/>
          </p15:clr>
        </p15:guide>
        <p15:guide id="39" pos="6323">
          <p15:clr>
            <a:srgbClr val="C35EA4"/>
          </p15:clr>
        </p15:guide>
        <p15:guide id="40" pos="6469">
          <p15:clr>
            <a:srgbClr val="C35EA4"/>
          </p15:clr>
        </p15:guide>
        <p15:guide id="41" pos="293">
          <p15:clr>
            <a:srgbClr val="F26B43"/>
          </p15:clr>
        </p15:guide>
        <p15:guide id="42" pos="7565">
          <p15:clr>
            <a:srgbClr val="F26B43"/>
          </p15:clr>
        </p15:guide>
        <p15:guide id="43" orient="horz" pos="751">
          <p15:clr>
            <a:srgbClr val="5ACBF0"/>
          </p15:clr>
        </p15:guide>
        <p15:guide id="44" orient="horz" pos="1387">
          <p15:clr>
            <a:srgbClr val="5ACBF0"/>
          </p15:clr>
        </p15:guide>
        <p15:guide id="45" orient="horz" pos="605">
          <p15:clr>
            <a:srgbClr val="5ACBF0"/>
          </p15:clr>
        </p15:guide>
        <p15:guide id="46" orient="horz" pos="1514">
          <p15:clr>
            <a:srgbClr val="5ACBF0"/>
          </p15:clr>
        </p15:guide>
        <p15:guide id="47" orient="horz" pos="2130">
          <p15:clr>
            <a:srgbClr val="5ACBF0"/>
          </p15:clr>
        </p15:guide>
        <p15:guide id="48" orient="horz" pos="2299">
          <p15:clr>
            <a:srgbClr val="5ACBF0"/>
          </p15:clr>
        </p15:guide>
        <p15:guide id="49" orient="horz" pos="283">
          <p15:clr>
            <a:srgbClr val="F26B43"/>
          </p15:clr>
        </p15:guide>
        <p15:guide id="50" orient="horz" pos="4120">
          <p15:clr>
            <a:srgbClr val="F26B43"/>
          </p15:clr>
        </p15:guide>
        <p15:guide id="51" orient="horz" pos="2891">
          <p15:clr>
            <a:srgbClr val="5ACBF0"/>
          </p15:clr>
        </p15:guide>
        <p15:guide id="52" orient="horz" pos="3019">
          <p15:clr>
            <a:srgbClr val="5ACBF0"/>
          </p15:clr>
        </p15:guide>
        <p15:guide id="53" orient="horz" pos="3643">
          <p15:clr>
            <a:srgbClr val="5ACBF0"/>
          </p15:clr>
        </p15:guide>
        <p15:guide id="54" orient="horz" pos="376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13" Type="http://schemas.openxmlformats.org/officeDocument/2006/relationships/image" Target="../media/image28.png"/><Relationship Id="rId18" Type="http://schemas.openxmlformats.org/officeDocument/2006/relationships/image" Target="../media/image33.svg"/><Relationship Id="rId3" Type="http://schemas.openxmlformats.org/officeDocument/2006/relationships/image" Target="../media/image18.png"/><Relationship Id="rId21" Type="http://schemas.openxmlformats.org/officeDocument/2006/relationships/image" Target="../media/image36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17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1.svg"/><Relationship Id="rId20" Type="http://schemas.openxmlformats.org/officeDocument/2006/relationships/image" Target="../media/image35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24" Type="http://schemas.openxmlformats.org/officeDocument/2006/relationships/image" Target="../media/image39.sv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10" Type="http://schemas.openxmlformats.org/officeDocument/2006/relationships/image" Target="../media/image25.svg"/><Relationship Id="rId19" Type="http://schemas.openxmlformats.org/officeDocument/2006/relationships/image" Target="../media/image34.png"/><Relationship Id="rId4" Type="http://schemas.openxmlformats.org/officeDocument/2006/relationships/image" Target="../media/image19.svg"/><Relationship Id="rId9" Type="http://schemas.openxmlformats.org/officeDocument/2006/relationships/image" Target="../media/image24.png"/><Relationship Id="rId14" Type="http://schemas.openxmlformats.org/officeDocument/2006/relationships/image" Target="../media/image29.svg"/><Relationship Id="rId22" Type="http://schemas.openxmlformats.org/officeDocument/2006/relationships/image" Target="../media/image37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8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41.svg"/><Relationship Id="rId7" Type="http://schemas.openxmlformats.org/officeDocument/2006/relationships/image" Target="../media/image25.svg"/><Relationship Id="rId12" Type="http://schemas.openxmlformats.org/officeDocument/2006/relationships/image" Target="../media/image30.png"/><Relationship Id="rId17" Type="http://schemas.openxmlformats.org/officeDocument/2006/relationships/image" Target="../media/image37.svg"/><Relationship Id="rId25" Type="http://schemas.openxmlformats.org/officeDocument/2006/relationships/image" Target="../media/image44.svg"/><Relationship Id="rId2" Type="http://schemas.openxmlformats.org/officeDocument/2006/relationships/tags" Target="../tags/tag4.xml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24" Type="http://schemas.openxmlformats.org/officeDocument/2006/relationships/image" Target="../media/image43.png"/><Relationship Id="rId5" Type="http://schemas.openxmlformats.org/officeDocument/2006/relationships/image" Target="../media/image1.emf"/><Relationship Id="rId15" Type="http://schemas.openxmlformats.org/officeDocument/2006/relationships/image" Target="../media/image33.svg"/><Relationship Id="rId23" Type="http://schemas.openxmlformats.org/officeDocument/2006/relationships/image" Target="../media/image42.svg"/><Relationship Id="rId10" Type="http://schemas.openxmlformats.org/officeDocument/2006/relationships/image" Target="../media/image28.png"/><Relationship Id="rId19" Type="http://schemas.openxmlformats.org/officeDocument/2006/relationships/image" Target="../media/image39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7.svg"/><Relationship Id="rId14" Type="http://schemas.openxmlformats.org/officeDocument/2006/relationships/image" Target="../media/image32.png"/><Relationship Id="rId22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8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41.svg"/><Relationship Id="rId7" Type="http://schemas.openxmlformats.org/officeDocument/2006/relationships/image" Target="../media/image25.svg"/><Relationship Id="rId12" Type="http://schemas.openxmlformats.org/officeDocument/2006/relationships/image" Target="../media/image30.png"/><Relationship Id="rId17" Type="http://schemas.openxmlformats.org/officeDocument/2006/relationships/image" Target="../media/image37.svg"/><Relationship Id="rId25" Type="http://schemas.openxmlformats.org/officeDocument/2006/relationships/image" Target="../media/image44.svg"/><Relationship Id="rId2" Type="http://schemas.openxmlformats.org/officeDocument/2006/relationships/tags" Target="../tags/tag5.xml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24" Type="http://schemas.openxmlformats.org/officeDocument/2006/relationships/image" Target="../media/image43.png"/><Relationship Id="rId5" Type="http://schemas.openxmlformats.org/officeDocument/2006/relationships/image" Target="../media/image1.emf"/><Relationship Id="rId15" Type="http://schemas.openxmlformats.org/officeDocument/2006/relationships/image" Target="../media/image33.svg"/><Relationship Id="rId23" Type="http://schemas.openxmlformats.org/officeDocument/2006/relationships/image" Target="../media/image42.svg"/><Relationship Id="rId10" Type="http://schemas.openxmlformats.org/officeDocument/2006/relationships/image" Target="../media/image28.png"/><Relationship Id="rId19" Type="http://schemas.openxmlformats.org/officeDocument/2006/relationships/image" Target="../media/image3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7.svg"/><Relationship Id="rId14" Type="http://schemas.openxmlformats.org/officeDocument/2006/relationships/image" Target="../media/image32.png"/><Relationship Id="rId22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8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41.svg"/><Relationship Id="rId7" Type="http://schemas.openxmlformats.org/officeDocument/2006/relationships/image" Target="../media/image25.svg"/><Relationship Id="rId12" Type="http://schemas.openxmlformats.org/officeDocument/2006/relationships/image" Target="../media/image30.png"/><Relationship Id="rId17" Type="http://schemas.openxmlformats.org/officeDocument/2006/relationships/image" Target="../media/image37.svg"/><Relationship Id="rId25" Type="http://schemas.openxmlformats.org/officeDocument/2006/relationships/image" Target="../media/image44.svg"/><Relationship Id="rId2" Type="http://schemas.openxmlformats.org/officeDocument/2006/relationships/tags" Target="../tags/tag6.xml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24" Type="http://schemas.openxmlformats.org/officeDocument/2006/relationships/image" Target="../media/image43.png"/><Relationship Id="rId5" Type="http://schemas.openxmlformats.org/officeDocument/2006/relationships/image" Target="../media/image1.emf"/><Relationship Id="rId15" Type="http://schemas.openxmlformats.org/officeDocument/2006/relationships/image" Target="../media/image33.svg"/><Relationship Id="rId23" Type="http://schemas.openxmlformats.org/officeDocument/2006/relationships/image" Target="../media/image42.svg"/><Relationship Id="rId10" Type="http://schemas.openxmlformats.org/officeDocument/2006/relationships/image" Target="../media/image28.png"/><Relationship Id="rId19" Type="http://schemas.openxmlformats.org/officeDocument/2006/relationships/image" Target="../media/image39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27.svg"/><Relationship Id="rId14" Type="http://schemas.openxmlformats.org/officeDocument/2006/relationships/image" Target="../media/image32.png"/><Relationship Id="rId22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7.svg"/><Relationship Id="rId18" Type="http://schemas.openxmlformats.org/officeDocument/2006/relationships/image" Target="../media/image60.png"/><Relationship Id="rId26" Type="http://schemas.openxmlformats.org/officeDocument/2006/relationships/image" Target="../media/image68.png"/><Relationship Id="rId39" Type="http://schemas.openxmlformats.org/officeDocument/2006/relationships/image" Target="../media/image81.svg"/><Relationship Id="rId3" Type="http://schemas.openxmlformats.org/officeDocument/2006/relationships/image" Target="../media/image48.svg"/><Relationship Id="rId21" Type="http://schemas.openxmlformats.org/officeDocument/2006/relationships/image" Target="../media/image63.svg"/><Relationship Id="rId34" Type="http://schemas.openxmlformats.org/officeDocument/2006/relationships/image" Target="../media/image76.png"/><Relationship Id="rId42" Type="http://schemas.openxmlformats.org/officeDocument/2006/relationships/image" Target="../media/image82.png"/><Relationship Id="rId47" Type="http://schemas.openxmlformats.org/officeDocument/2006/relationships/image" Target="../media/image44.svg"/><Relationship Id="rId50" Type="http://schemas.openxmlformats.org/officeDocument/2006/relationships/image" Target="../media/image88.png"/><Relationship Id="rId7" Type="http://schemas.openxmlformats.org/officeDocument/2006/relationships/image" Target="../media/image52.svg"/><Relationship Id="rId12" Type="http://schemas.openxmlformats.org/officeDocument/2006/relationships/image" Target="../media/image45.png"/><Relationship Id="rId17" Type="http://schemas.openxmlformats.org/officeDocument/2006/relationships/image" Target="../media/image41.svg"/><Relationship Id="rId25" Type="http://schemas.openxmlformats.org/officeDocument/2006/relationships/image" Target="../media/image67.svg"/><Relationship Id="rId33" Type="http://schemas.openxmlformats.org/officeDocument/2006/relationships/image" Target="../media/image75.svg"/><Relationship Id="rId38" Type="http://schemas.openxmlformats.org/officeDocument/2006/relationships/image" Target="../media/image80.png"/><Relationship Id="rId46" Type="http://schemas.openxmlformats.org/officeDocument/2006/relationships/image" Target="../media/image43.png"/><Relationship Id="rId2" Type="http://schemas.openxmlformats.org/officeDocument/2006/relationships/image" Target="../media/image47.png"/><Relationship Id="rId16" Type="http://schemas.openxmlformats.org/officeDocument/2006/relationships/image" Target="../media/image40.png"/><Relationship Id="rId20" Type="http://schemas.openxmlformats.org/officeDocument/2006/relationships/image" Target="../media/image62.png"/><Relationship Id="rId29" Type="http://schemas.openxmlformats.org/officeDocument/2006/relationships/image" Target="../media/image71.svg"/><Relationship Id="rId41" Type="http://schemas.openxmlformats.org/officeDocument/2006/relationships/image" Target="../media/image42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png"/><Relationship Id="rId11" Type="http://schemas.openxmlformats.org/officeDocument/2006/relationships/image" Target="../media/image56.svg"/><Relationship Id="rId24" Type="http://schemas.openxmlformats.org/officeDocument/2006/relationships/image" Target="../media/image66.png"/><Relationship Id="rId32" Type="http://schemas.openxmlformats.org/officeDocument/2006/relationships/image" Target="../media/image74.png"/><Relationship Id="rId37" Type="http://schemas.openxmlformats.org/officeDocument/2006/relationships/image" Target="../media/image79.svg"/><Relationship Id="rId40" Type="http://schemas.openxmlformats.org/officeDocument/2006/relationships/image" Target="../media/image18.png"/><Relationship Id="rId45" Type="http://schemas.openxmlformats.org/officeDocument/2006/relationships/image" Target="../media/image85.svg"/><Relationship Id="rId5" Type="http://schemas.openxmlformats.org/officeDocument/2006/relationships/image" Target="../media/image50.svg"/><Relationship Id="rId15" Type="http://schemas.openxmlformats.org/officeDocument/2006/relationships/image" Target="../media/image59.svg"/><Relationship Id="rId23" Type="http://schemas.openxmlformats.org/officeDocument/2006/relationships/image" Target="../media/image65.svg"/><Relationship Id="rId28" Type="http://schemas.openxmlformats.org/officeDocument/2006/relationships/image" Target="../media/image70.png"/><Relationship Id="rId36" Type="http://schemas.openxmlformats.org/officeDocument/2006/relationships/image" Target="../media/image78.png"/><Relationship Id="rId49" Type="http://schemas.openxmlformats.org/officeDocument/2006/relationships/image" Target="../media/image87.svg"/><Relationship Id="rId10" Type="http://schemas.openxmlformats.org/officeDocument/2006/relationships/image" Target="../media/image55.png"/><Relationship Id="rId19" Type="http://schemas.openxmlformats.org/officeDocument/2006/relationships/image" Target="../media/image61.svg"/><Relationship Id="rId31" Type="http://schemas.openxmlformats.org/officeDocument/2006/relationships/image" Target="../media/image73.svg"/><Relationship Id="rId44" Type="http://schemas.openxmlformats.org/officeDocument/2006/relationships/image" Target="../media/image84.png"/><Relationship Id="rId4" Type="http://schemas.openxmlformats.org/officeDocument/2006/relationships/image" Target="../media/image49.png"/><Relationship Id="rId9" Type="http://schemas.openxmlformats.org/officeDocument/2006/relationships/image" Target="../media/image54.svg"/><Relationship Id="rId14" Type="http://schemas.openxmlformats.org/officeDocument/2006/relationships/image" Target="../media/image58.png"/><Relationship Id="rId22" Type="http://schemas.openxmlformats.org/officeDocument/2006/relationships/image" Target="../media/image64.png"/><Relationship Id="rId27" Type="http://schemas.openxmlformats.org/officeDocument/2006/relationships/image" Target="../media/image69.svg"/><Relationship Id="rId30" Type="http://schemas.openxmlformats.org/officeDocument/2006/relationships/image" Target="../media/image72.png"/><Relationship Id="rId35" Type="http://schemas.openxmlformats.org/officeDocument/2006/relationships/image" Target="../media/image77.svg"/><Relationship Id="rId43" Type="http://schemas.openxmlformats.org/officeDocument/2006/relationships/image" Target="../media/image83.svg"/><Relationship Id="rId48" Type="http://schemas.openxmlformats.org/officeDocument/2006/relationships/image" Target="../media/image86.png"/><Relationship Id="rId8" Type="http://schemas.openxmlformats.org/officeDocument/2006/relationships/image" Target="../media/image53.png"/><Relationship Id="rId51" Type="http://schemas.openxmlformats.org/officeDocument/2006/relationships/image" Target="../media/image8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Tablet Device Outline" descr="A mockup of website interface on a tablet.">
            <a:extLst>
              <a:ext uri="{FF2B5EF4-FFF2-40B4-BE49-F238E27FC236}">
                <a16:creationId xmlns:a16="http://schemas.microsoft.com/office/drawing/2014/main" id="{96D4FE11-24F6-4B81-B3AB-77E0D9A897AA}"/>
              </a:ext>
            </a:extLst>
          </p:cNvPr>
          <p:cNvGrpSpPr/>
          <p:nvPr/>
        </p:nvGrpSpPr>
        <p:grpSpPr>
          <a:xfrm>
            <a:off x="4735416" y="2031061"/>
            <a:ext cx="6316453" cy="4453647"/>
            <a:chOff x="4735416" y="2031061"/>
            <a:chExt cx="6316453" cy="4453647"/>
          </a:xfrm>
        </p:grpSpPr>
        <p:grpSp>
          <p:nvGrpSpPr>
            <p:cNvPr id="332" name="Picture Placeholder">
              <a:extLst>
                <a:ext uri="{FF2B5EF4-FFF2-40B4-BE49-F238E27FC236}">
                  <a16:creationId xmlns:a16="http://schemas.microsoft.com/office/drawing/2014/main" id="{EBA93F66-4882-49CA-B6FB-69DA45CA34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898198" y="2678064"/>
              <a:ext cx="2617482" cy="923726"/>
              <a:chOff x="7898198" y="2678064"/>
              <a:chExt cx="2617482" cy="923726"/>
            </a:xfrm>
          </p:grpSpPr>
          <p:sp>
            <p:nvSpPr>
              <p:cNvPr id="102" name="Picture Placeholder Shape">
                <a:extLst>
                  <a:ext uri="{FF2B5EF4-FFF2-40B4-BE49-F238E27FC236}">
                    <a16:creationId xmlns:a16="http://schemas.microsoft.com/office/drawing/2014/main" id="{3FB6E4C4-71AC-4556-9083-30DA9160B064}"/>
                  </a:ext>
                </a:extLst>
              </p:cNvPr>
              <p:cNvSpPr/>
              <p:nvPr/>
            </p:nvSpPr>
            <p:spPr>
              <a:xfrm>
                <a:off x="7898198" y="2678064"/>
                <a:ext cx="2617482" cy="923726"/>
              </a:xfrm>
              <a:custGeom>
                <a:avLst/>
                <a:gdLst>
                  <a:gd name="connsiteX0" fmla="*/ 0 w 2617482"/>
                  <a:gd name="connsiteY0" fmla="*/ 11408 h 923726"/>
                  <a:gd name="connsiteX1" fmla="*/ 11408 w 2617482"/>
                  <a:gd name="connsiteY1" fmla="*/ 0 h 923726"/>
                  <a:gd name="connsiteX2" fmla="*/ 660075 w 2617482"/>
                  <a:gd name="connsiteY2" fmla="*/ 0 h 923726"/>
                  <a:gd name="connsiteX3" fmla="*/ 1360634 w 2617482"/>
                  <a:gd name="connsiteY3" fmla="*/ 0 h 923726"/>
                  <a:gd name="connsiteX4" fmla="*/ 1957408 w 2617482"/>
                  <a:gd name="connsiteY4" fmla="*/ 0 h 923726"/>
                  <a:gd name="connsiteX5" fmla="*/ 2606074 w 2617482"/>
                  <a:gd name="connsiteY5" fmla="*/ 0 h 923726"/>
                  <a:gd name="connsiteX6" fmla="*/ 2617482 w 2617482"/>
                  <a:gd name="connsiteY6" fmla="*/ 11408 h 923726"/>
                  <a:gd name="connsiteX7" fmla="*/ 2617482 w 2617482"/>
                  <a:gd name="connsiteY7" fmla="*/ 461863 h 923726"/>
                  <a:gd name="connsiteX8" fmla="*/ 2617482 w 2617482"/>
                  <a:gd name="connsiteY8" fmla="*/ 912318 h 923726"/>
                  <a:gd name="connsiteX9" fmla="*/ 2606074 w 2617482"/>
                  <a:gd name="connsiteY9" fmla="*/ 923726 h 923726"/>
                  <a:gd name="connsiteX10" fmla="*/ 1983354 w 2617482"/>
                  <a:gd name="connsiteY10" fmla="*/ 923726 h 923726"/>
                  <a:gd name="connsiteX11" fmla="*/ 1308741 w 2617482"/>
                  <a:gd name="connsiteY11" fmla="*/ 923726 h 923726"/>
                  <a:gd name="connsiteX12" fmla="*/ 711968 w 2617482"/>
                  <a:gd name="connsiteY12" fmla="*/ 923726 h 923726"/>
                  <a:gd name="connsiteX13" fmla="*/ 11408 w 2617482"/>
                  <a:gd name="connsiteY13" fmla="*/ 923726 h 923726"/>
                  <a:gd name="connsiteX14" fmla="*/ 0 w 2617482"/>
                  <a:gd name="connsiteY14" fmla="*/ 912318 h 923726"/>
                  <a:gd name="connsiteX15" fmla="*/ 0 w 2617482"/>
                  <a:gd name="connsiteY15" fmla="*/ 443845 h 923726"/>
                  <a:gd name="connsiteX16" fmla="*/ 0 w 2617482"/>
                  <a:gd name="connsiteY16" fmla="*/ 11408 h 923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17482" h="923726" fill="none" extrusionOk="0">
                    <a:moveTo>
                      <a:pt x="0" y="11408"/>
                    </a:moveTo>
                    <a:cubicBezTo>
                      <a:pt x="1230" y="4971"/>
                      <a:pt x="4563" y="882"/>
                      <a:pt x="11408" y="0"/>
                    </a:cubicBezTo>
                    <a:cubicBezTo>
                      <a:pt x="293485" y="-5861"/>
                      <a:pt x="413196" y="656"/>
                      <a:pt x="660075" y="0"/>
                    </a:cubicBezTo>
                    <a:cubicBezTo>
                      <a:pt x="906954" y="-656"/>
                      <a:pt x="1053436" y="34972"/>
                      <a:pt x="1360634" y="0"/>
                    </a:cubicBezTo>
                    <a:cubicBezTo>
                      <a:pt x="1667832" y="-34972"/>
                      <a:pt x="1723738" y="-7012"/>
                      <a:pt x="1957408" y="0"/>
                    </a:cubicBezTo>
                    <a:cubicBezTo>
                      <a:pt x="2191078" y="7012"/>
                      <a:pt x="2401517" y="26322"/>
                      <a:pt x="2606074" y="0"/>
                    </a:cubicBezTo>
                    <a:cubicBezTo>
                      <a:pt x="2613065" y="-1097"/>
                      <a:pt x="2616900" y="5822"/>
                      <a:pt x="2617482" y="11408"/>
                    </a:cubicBezTo>
                    <a:cubicBezTo>
                      <a:pt x="2620088" y="145643"/>
                      <a:pt x="2600297" y="366211"/>
                      <a:pt x="2617482" y="461863"/>
                    </a:cubicBezTo>
                    <a:cubicBezTo>
                      <a:pt x="2634667" y="557516"/>
                      <a:pt x="2620019" y="715390"/>
                      <a:pt x="2617482" y="912318"/>
                    </a:cubicBezTo>
                    <a:cubicBezTo>
                      <a:pt x="2618979" y="918548"/>
                      <a:pt x="2611596" y="924930"/>
                      <a:pt x="2606074" y="923726"/>
                    </a:cubicBezTo>
                    <a:cubicBezTo>
                      <a:pt x="2427320" y="906021"/>
                      <a:pt x="2110005" y="953793"/>
                      <a:pt x="1983354" y="923726"/>
                    </a:cubicBezTo>
                    <a:cubicBezTo>
                      <a:pt x="1856703" y="893659"/>
                      <a:pt x="1588982" y="931353"/>
                      <a:pt x="1308741" y="923726"/>
                    </a:cubicBezTo>
                    <a:cubicBezTo>
                      <a:pt x="1028500" y="916099"/>
                      <a:pt x="1004964" y="916080"/>
                      <a:pt x="711968" y="923726"/>
                    </a:cubicBezTo>
                    <a:cubicBezTo>
                      <a:pt x="418972" y="931372"/>
                      <a:pt x="209063" y="927554"/>
                      <a:pt x="11408" y="923726"/>
                    </a:cubicBezTo>
                    <a:cubicBezTo>
                      <a:pt x="5915" y="922926"/>
                      <a:pt x="-36" y="918399"/>
                      <a:pt x="0" y="912318"/>
                    </a:cubicBezTo>
                    <a:cubicBezTo>
                      <a:pt x="-8087" y="718678"/>
                      <a:pt x="7254" y="552969"/>
                      <a:pt x="0" y="443845"/>
                    </a:cubicBezTo>
                    <a:cubicBezTo>
                      <a:pt x="-7254" y="334721"/>
                      <a:pt x="-9052" y="169246"/>
                      <a:pt x="0" y="11408"/>
                    </a:cubicBezTo>
                    <a:close/>
                  </a:path>
                  <a:path w="2617482" h="923726" stroke="0" extrusionOk="0">
                    <a:moveTo>
                      <a:pt x="0" y="11408"/>
                    </a:moveTo>
                    <a:cubicBezTo>
                      <a:pt x="-78" y="3965"/>
                      <a:pt x="5595" y="-1484"/>
                      <a:pt x="11408" y="0"/>
                    </a:cubicBezTo>
                    <a:cubicBezTo>
                      <a:pt x="232096" y="-8569"/>
                      <a:pt x="435884" y="20415"/>
                      <a:pt x="608181" y="0"/>
                    </a:cubicBezTo>
                    <a:cubicBezTo>
                      <a:pt x="780478" y="-20415"/>
                      <a:pt x="950425" y="-8708"/>
                      <a:pt x="1256848" y="0"/>
                    </a:cubicBezTo>
                    <a:cubicBezTo>
                      <a:pt x="1563271" y="8708"/>
                      <a:pt x="1708066" y="3584"/>
                      <a:pt x="1879568" y="0"/>
                    </a:cubicBezTo>
                    <a:cubicBezTo>
                      <a:pt x="2051070" y="-3584"/>
                      <a:pt x="2308762" y="28262"/>
                      <a:pt x="2606074" y="0"/>
                    </a:cubicBezTo>
                    <a:cubicBezTo>
                      <a:pt x="2611047" y="-434"/>
                      <a:pt x="2617704" y="5543"/>
                      <a:pt x="2617482" y="11408"/>
                    </a:cubicBezTo>
                    <a:cubicBezTo>
                      <a:pt x="2607880" y="235751"/>
                      <a:pt x="2629048" y="356306"/>
                      <a:pt x="2617482" y="461863"/>
                    </a:cubicBezTo>
                    <a:cubicBezTo>
                      <a:pt x="2605916" y="567421"/>
                      <a:pt x="2625589" y="723563"/>
                      <a:pt x="2617482" y="912318"/>
                    </a:cubicBezTo>
                    <a:cubicBezTo>
                      <a:pt x="2617648" y="917724"/>
                      <a:pt x="2612462" y="922499"/>
                      <a:pt x="2606074" y="923726"/>
                    </a:cubicBezTo>
                    <a:cubicBezTo>
                      <a:pt x="2425993" y="907288"/>
                      <a:pt x="2220551" y="954755"/>
                      <a:pt x="1931461" y="923726"/>
                    </a:cubicBezTo>
                    <a:cubicBezTo>
                      <a:pt x="1642371" y="892697"/>
                      <a:pt x="1467956" y="950473"/>
                      <a:pt x="1334688" y="923726"/>
                    </a:cubicBezTo>
                    <a:cubicBezTo>
                      <a:pt x="1201420" y="896979"/>
                      <a:pt x="929468" y="939533"/>
                      <a:pt x="711968" y="923726"/>
                    </a:cubicBezTo>
                    <a:cubicBezTo>
                      <a:pt x="494468" y="907919"/>
                      <a:pt x="265712" y="929459"/>
                      <a:pt x="11408" y="923726"/>
                    </a:cubicBezTo>
                    <a:cubicBezTo>
                      <a:pt x="3941" y="923914"/>
                      <a:pt x="-680" y="918806"/>
                      <a:pt x="0" y="912318"/>
                    </a:cubicBezTo>
                    <a:cubicBezTo>
                      <a:pt x="11524" y="689415"/>
                      <a:pt x="-20301" y="682100"/>
                      <a:pt x="0" y="452854"/>
                    </a:cubicBezTo>
                    <a:cubicBezTo>
                      <a:pt x="20301" y="223608"/>
                      <a:pt x="16803" y="155390"/>
                      <a:pt x="0" y="1140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solidFill>
                  <a:schemeClr val="tx1">
                    <a:lumMod val="75000"/>
                    <a:lumOff val="25000"/>
                    <a:alpha val="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121754831">
                      <a:prstGeom prst="roundRect">
                        <a:avLst>
                          <a:gd name="adj" fmla="val 1235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03" name="Picture Placeholder Graphic">
                <a:extLst>
                  <a:ext uri="{FF2B5EF4-FFF2-40B4-BE49-F238E27FC236}">
                    <a16:creationId xmlns:a16="http://schemas.microsoft.com/office/drawing/2014/main" id="{84FCF1F7-7F07-4685-BB13-D3D2D117BCA0}"/>
                  </a:ext>
                </a:extLst>
              </p:cNvPr>
              <p:cNvGrpSpPr/>
              <p:nvPr/>
            </p:nvGrpSpPr>
            <p:grpSpPr>
              <a:xfrm>
                <a:off x="8783179" y="2965879"/>
                <a:ext cx="795176" cy="383448"/>
                <a:chOff x="3311823" y="5344496"/>
                <a:chExt cx="1844171" cy="895483"/>
              </a:xfrm>
              <a:solidFill>
                <a:schemeClr val="tx1">
                  <a:lumMod val="75000"/>
                  <a:lumOff val="25000"/>
                </a:schemeClr>
              </a:solidFill>
            </p:grpSpPr>
            <p:sp>
              <p:nvSpPr>
                <p:cNvPr id="104" name="Triangle">
                  <a:extLst>
                    <a:ext uri="{FF2B5EF4-FFF2-40B4-BE49-F238E27FC236}">
                      <a16:creationId xmlns:a16="http://schemas.microsoft.com/office/drawing/2014/main" id="{2704A341-CEBA-4E0C-9E71-4A11A084EF08}"/>
                    </a:ext>
                  </a:extLst>
                </p:cNvPr>
                <p:cNvSpPr/>
                <p:nvPr/>
              </p:nvSpPr>
              <p:spPr>
                <a:xfrm>
                  <a:off x="3311823" y="5347787"/>
                  <a:ext cx="1394784" cy="892192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5" name="Triangle">
                  <a:extLst>
                    <a:ext uri="{FF2B5EF4-FFF2-40B4-BE49-F238E27FC236}">
                      <a16:creationId xmlns:a16="http://schemas.microsoft.com/office/drawing/2014/main" id="{6466C661-B709-4AB8-A3E3-9C4EA0CC10F3}"/>
                    </a:ext>
                  </a:extLst>
                </p:cNvPr>
                <p:cNvSpPr/>
                <p:nvPr/>
              </p:nvSpPr>
              <p:spPr>
                <a:xfrm>
                  <a:off x="4043293" y="5528225"/>
                  <a:ext cx="1112701" cy="711754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6" name="Circle">
                  <a:extLst>
                    <a:ext uri="{FF2B5EF4-FFF2-40B4-BE49-F238E27FC236}">
                      <a16:creationId xmlns:a16="http://schemas.microsoft.com/office/drawing/2014/main" id="{8B78096E-E0D4-4A72-A800-143355132810}"/>
                    </a:ext>
                  </a:extLst>
                </p:cNvPr>
                <p:cNvSpPr/>
                <p:nvPr/>
              </p:nvSpPr>
              <p:spPr>
                <a:xfrm>
                  <a:off x="4855842" y="5344496"/>
                  <a:ext cx="182880" cy="17999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22" name="Filter Option">
              <a:extLst>
                <a:ext uri="{FF2B5EF4-FFF2-40B4-BE49-F238E27FC236}">
                  <a16:creationId xmlns:a16="http://schemas.microsoft.com/office/drawing/2014/main" id="{DA656CB6-D29F-4B82-BDC9-2A069FEB5F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146969" y="4318200"/>
              <a:ext cx="495956" cy="111288"/>
              <a:chOff x="5857710" y="3571423"/>
              <a:chExt cx="567124" cy="127257"/>
            </a:xfrm>
          </p:grpSpPr>
          <p:sp>
            <p:nvSpPr>
              <p:cNvPr id="94" name="Filter Box and Text">
                <a:extLst>
                  <a:ext uri="{FF2B5EF4-FFF2-40B4-BE49-F238E27FC236}">
                    <a16:creationId xmlns:a16="http://schemas.microsoft.com/office/drawing/2014/main" id="{65210F20-1F49-42B8-9523-8040A46A0CE6}"/>
                  </a:ext>
                </a:extLst>
              </p:cNvPr>
              <p:cNvSpPr/>
              <p:nvPr/>
            </p:nvSpPr>
            <p:spPr>
              <a:xfrm>
                <a:off x="5857710" y="3571423"/>
                <a:ext cx="567124" cy="127257"/>
              </a:xfrm>
              <a:custGeom>
                <a:avLst/>
                <a:gdLst>
                  <a:gd name="connsiteX0" fmla="*/ 0 w 567124"/>
                  <a:gd name="connsiteY0" fmla="*/ 7599 h 127257"/>
                  <a:gd name="connsiteX1" fmla="*/ 7599 w 567124"/>
                  <a:gd name="connsiteY1" fmla="*/ 0 h 127257"/>
                  <a:gd name="connsiteX2" fmla="*/ 559525 w 567124"/>
                  <a:gd name="connsiteY2" fmla="*/ 0 h 127257"/>
                  <a:gd name="connsiteX3" fmla="*/ 567124 w 567124"/>
                  <a:gd name="connsiteY3" fmla="*/ 7599 h 127257"/>
                  <a:gd name="connsiteX4" fmla="*/ 567124 w 567124"/>
                  <a:gd name="connsiteY4" fmla="*/ 119658 h 127257"/>
                  <a:gd name="connsiteX5" fmla="*/ 559525 w 567124"/>
                  <a:gd name="connsiteY5" fmla="*/ 127257 h 127257"/>
                  <a:gd name="connsiteX6" fmla="*/ 7599 w 567124"/>
                  <a:gd name="connsiteY6" fmla="*/ 127257 h 127257"/>
                  <a:gd name="connsiteX7" fmla="*/ 0 w 567124"/>
                  <a:gd name="connsiteY7" fmla="*/ 119658 h 127257"/>
                  <a:gd name="connsiteX8" fmla="*/ 0 w 567124"/>
                  <a:gd name="connsiteY8" fmla="*/ 7599 h 12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7124" h="127257" fill="none" extrusionOk="0">
                    <a:moveTo>
                      <a:pt x="0" y="7599"/>
                    </a:moveTo>
                    <a:cubicBezTo>
                      <a:pt x="129" y="2969"/>
                      <a:pt x="3472" y="26"/>
                      <a:pt x="7599" y="0"/>
                    </a:cubicBezTo>
                    <a:cubicBezTo>
                      <a:pt x="90571" y="-8399"/>
                      <a:pt x="425793" y="-41343"/>
                      <a:pt x="559525" y="0"/>
                    </a:cubicBezTo>
                    <a:cubicBezTo>
                      <a:pt x="564070" y="-405"/>
                      <a:pt x="567166" y="2783"/>
                      <a:pt x="567124" y="7599"/>
                    </a:cubicBezTo>
                    <a:cubicBezTo>
                      <a:pt x="576789" y="20623"/>
                      <a:pt x="557165" y="102043"/>
                      <a:pt x="567124" y="119658"/>
                    </a:cubicBezTo>
                    <a:cubicBezTo>
                      <a:pt x="567135" y="123562"/>
                      <a:pt x="564020" y="127869"/>
                      <a:pt x="559525" y="127257"/>
                    </a:cubicBezTo>
                    <a:cubicBezTo>
                      <a:pt x="493752" y="104348"/>
                      <a:pt x="117620" y="149132"/>
                      <a:pt x="7599" y="127257"/>
                    </a:cubicBezTo>
                    <a:cubicBezTo>
                      <a:pt x="3474" y="126458"/>
                      <a:pt x="-40" y="123921"/>
                      <a:pt x="0" y="119658"/>
                    </a:cubicBezTo>
                    <a:cubicBezTo>
                      <a:pt x="3085" y="94922"/>
                      <a:pt x="-3423" y="45053"/>
                      <a:pt x="0" y="7599"/>
                    </a:cubicBezTo>
                    <a:close/>
                  </a:path>
                  <a:path w="567124" h="127257" stroke="0" extrusionOk="0">
                    <a:moveTo>
                      <a:pt x="0" y="7599"/>
                    </a:moveTo>
                    <a:cubicBezTo>
                      <a:pt x="354" y="2732"/>
                      <a:pt x="3089" y="605"/>
                      <a:pt x="7599" y="0"/>
                    </a:cubicBezTo>
                    <a:cubicBezTo>
                      <a:pt x="278827" y="-20693"/>
                      <a:pt x="415831" y="7962"/>
                      <a:pt x="559525" y="0"/>
                    </a:cubicBezTo>
                    <a:cubicBezTo>
                      <a:pt x="563656" y="122"/>
                      <a:pt x="567064" y="3410"/>
                      <a:pt x="567124" y="7599"/>
                    </a:cubicBezTo>
                    <a:cubicBezTo>
                      <a:pt x="573087" y="53741"/>
                      <a:pt x="567562" y="66297"/>
                      <a:pt x="567124" y="119658"/>
                    </a:cubicBezTo>
                    <a:cubicBezTo>
                      <a:pt x="566765" y="123468"/>
                      <a:pt x="563910" y="127746"/>
                      <a:pt x="559525" y="127257"/>
                    </a:cubicBezTo>
                    <a:cubicBezTo>
                      <a:pt x="423575" y="139444"/>
                      <a:pt x="204671" y="108024"/>
                      <a:pt x="7599" y="127257"/>
                    </a:cubicBezTo>
                    <a:cubicBezTo>
                      <a:pt x="3346" y="127048"/>
                      <a:pt x="-78" y="123811"/>
                      <a:pt x="0" y="119658"/>
                    </a:cubicBezTo>
                    <a:cubicBezTo>
                      <a:pt x="-9227" y="106367"/>
                      <a:pt x="-4194" y="22484"/>
                      <a:pt x="0" y="7599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solidFill>
                  <a:schemeClr val="bg1">
                    <a:lumMod val="95000"/>
                    <a:alpha val="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47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ilter Option</a:t>
                </a:r>
              </a:p>
            </p:txBody>
          </p:sp>
          <p:sp>
            <p:nvSpPr>
              <p:cNvPr id="95" name="Close Icon">
                <a:extLst>
                  <a:ext uri="{FF2B5EF4-FFF2-40B4-BE49-F238E27FC236}">
                    <a16:creationId xmlns:a16="http://schemas.microsoft.com/office/drawing/2014/main" id="{36FD10D2-8342-4F71-A66F-E443A4C858A9}"/>
                  </a:ext>
                </a:extLst>
              </p:cNvPr>
              <p:cNvSpPr/>
              <p:nvPr/>
            </p:nvSpPr>
            <p:spPr>
              <a:xfrm rot="16200000">
                <a:off x="6320215" y="3589378"/>
                <a:ext cx="91349" cy="91349"/>
              </a:xfrm>
              <a:prstGeom prst="mathMultiply">
                <a:avLst>
                  <a:gd name="adj1" fmla="val 13291"/>
                </a:avLst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09" name="Shopping Item 5">
              <a:extLst>
                <a:ext uri="{FF2B5EF4-FFF2-40B4-BE49-F238E27FC236}">
                  <a16:creationId xmlns:a16="http://schemas.microsoft.com/office/drawing/2014/main" id="{162AC6E5-4BDC-4E94-991B-9742C29B95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136956" y="4656645"/>
              <a:ext cx="645537" cy="1373036"/>
              <a:chOff x="9136956" y="4656645"/>
              <a:chExt cx="645537" cy="1373036"/>
            </a:xfrm>
          </p:grpSpPr>
          <p:sp>
            <p:nvSpPr>
              <p:cNvPr id="85" name="Text Placeholder">
                <a:extLst>
                  <a:ext uri="{FF2B5EF4-FFF2-40B4-BE49-F238E27FC236}">
                    <a16:creationId xmlns:a16="http://schemas.microsoft.com/office/drawing/2014/main" id="{9A1EEB4E-A04D-42E9-83EB-54CC700D6243}"/>
                  </a:ext>
                </a:extLst>
              </p:cNvPr>
              <p:cNvSpPr txBox="1"/>
              <p:nvPr/>
            </p:nvSpPr>
            <p:spPr>
              <a:xfrm>
                <a:off x="9147421" y="5775765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86" name="Tall Photo Placeholder">
                <a:extLst>
                  <a:ext uri="{FF2B5EF4-FFF2-40B4-BE49-F238E27FC236}">
                    <a16:creationId xmlns:a16="http://schemas.microsoft.com/office/drawing/2014/main" id="{E736D135-D6DB-496F-A147-8DEDF9953F31}"/>
                  </a:ext>
                </a:extLst>
              </p:cNvPr>
              <p:cNvGrpSpPr/>
              <p:nvPr/>
            </p:nvGrpSpPr>
            <p:grpSpPr>
              <a:xfrm>
                <a:off x="9136956" y="4656645"/>
                <a:ext cx="645537" cy="963817"/>
                <a:chOff x="5841594" y="4162695"/>
                <a:chExt cx="757401" cy="1025588"/>
              </a:xfrm>
            </p:grpSpPr>
            <p:sp>
              <p:nvSpPr>
                <p:cNvPr id="87" name="Image Placeholder">
                  <a:extLst>
                    <a:ext uri="{FF2B5EF4-FFF2-40B4-BE49-F238E27FC236}">
                      <a16:creationId xmlns:a16="http://schemas.microsoft.com/office/drawing/2014/main" id="{CFEEFF8D-2A8E-41D2-9807-AA3CD811F62A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88" name="Person Icon" descr="User">
                  <a:extLst>
                    <a:ext uri="{FF2B5EF4-FFF2-40B4-BE49-F238E27FC236}">
                      <a16:creationId xmlns:a16="http://schemas.microsoft.com/office/drawing/2014/main" id="{66F1AC99-548A-4168-8802-E7F67B9157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100" name="Highlighted Text">
                <a:extLst>
                  <a:ext uri="{FF2B5EF4-FFF2-40B4-BE49-F238E27FC236}">
                    <a16:creationId xmlns:a16="http://schemas.microsoft.com/office/drawing/2014/main" id="{AC929719-11C2-465D-AB18-A929C4974FA7}"/>
                  </a:ext>
                </a:extLst>
              </p:cNvPr>
              <p:cNvSpPr txBox="1"/>
              <p:nvPr/>
            </p:nvSpPr>
            <p:spPr>
              <a:xfrm>
                <a:off x="9136956" y="5679496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310" name="Shopping Item 4">
              <a:extLst>
                <a:ext uri="{FF2B5EF4-FFF2-40B4-BE49-F238E27FC236}">
                  <a16:creationId xmlns:a16="http://schemas.microsoft.com/office/drawing/2014/main" id="{8A20E14B-CC59-41FA-BEB0-8F1FCDBBD6C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8387415" y="4657778"/>
              <a:ext cx="645537" cy="1373037"/>
              <a:chOff x="8387415" y="4657778"/>
              <a:chExt cx="645537" cy="1373037"/>
            </a:xfrm>
          </p:grpSpPr>
          <p:sp>
            <p:nvSpPr>
              <p:cNvPr id="81" name="Text Placeholder">
                <a:extLst>
                  <a:ext uri="{FF2B5EF4-FFF2-40B4-BE49-F238E27FC236}">
                    <a16:creationId xmlns:a16="http://schemas.microsoft.com/office/drawing/2014/main" id="{65497870-ABE0-4031-86F2-BDBF6DC6A39D}"/>
                  </a:ext>
                </a:extLst>
              </p:cNvPr>
              <p:cNvSpPr txBox="1"/>
              <p:nvPr/>
            </p:nvSpPr>
            <p:spPr>
              <a:xfrm>
                <a:off x="8397880" y="5776899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82" name="Tall Photo Placeholder">
                <a:extLst>
                  <a:ext uri="{FF2B5EF4-FFF2-40B4-BE49-F238E27FC236}">
                    <a16:creationId xmlns:a16="http://schemas.microsoft.com/office/drawing/2014/main" id="{3D7A7CCC-59C5-4BCC-9C4A-68D4D85B0FE8}"/>
                  </a:ext>
                </a:extLst>
              </p:cNvPr>
              <p:cNvGrpSpPr/>
              <p:nvPr/>
            </p:nvGrpSpPr>
            <p:grpSpPr>
              <a:xfrm>
                <a:off x="8387415" y="4657778"/>
                <a:ext cx="645537" cy="963817"/>
                <a:chOff x="5841594" y="4162695"/>
                <a:chExt cx="757401" cy="1025588"/>
              </a:xfrm>
            </p:grpSpPr>
            <p:sp>
              <p:nvSpPr>
                <p:cNvPr id="83" name="Image Placeholder">
                  <a:extLst>
                    <a:ext uri="{FF2B5EF4-FFF2-40B4-BE49-F238E27FC236}">
                      <a16:creationId xmlns:a16="http://schemas.microsoft.com/office/drawing/2014/main" id="{6CB67C4E-E2C6-4144-A4A8-A10F3290E44C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84" name="Person Icon" descr="User">
                  <a:extLst>
                    <a:ext uri="{FF2B5EF4-FFF2-40B4-BE49-F238E27FC236}">
                      <a16:creationId xmlns:a16="http://schemas.microsoft.com/office/drawing/2014/main" id="{6A03F39B-DBF9-4D7B-B500-EB70772334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99" name="Highlighted Text">
                <a:extLst>
                  <a:ext uri="{FF2B5EF4-FFF2-40B4-BE49-F238E27FC236}">
                    <a16:creationId xmlns:a16="http://schemas.microsoft.com/office/drawing/2014/main" id="{E5B8FBB8-F587-4809-B1EB-B1ADC6AA084B}"/>
                  </a:ext>
                </a:extLst>
              </p:cNvPr>
              <p:cNvSpPr txBox="1"/>
              <p:nvPr/>
            </p:nvSpPr>
            <p:spPr>
              <a:xfrm>
                <a:off x="8387415" y="5680062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311" name="Shopping Item 3">
              <a:extLst>
                <a:ext uri="{FF2B5EF4-FFF2-40B4-BE49-F238E27FC236}">
                  <a16:creationId xmlns:a16="http://schemas.microsoft.com/office/drawing/2014/main" id="{4BF65A67-BDCF-4231-BCCB-1433FA544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637874" y="4658912"/>
              <a:ext cx="645537" cy="1373036"/>
              <a:chOff x="7637874" y="4658912"/>
              <a:chExt cx="645537" cy="1373036"/>
            </a:xfrm>
          </p:grpSpPr>
          <p:sp>
            <p:nvSpPr>
              <p:cNvPr id="77" name="Text Placeholder">
                <a:extLst>
                  <a:ext uri="{FF2B5EF4-FFF2-40B4-BE49-F238E27FC236}">
                    <a16:creationId xmlns:a16="http://schemas.microsoft.com/office/drawing/2014/main" id="{CD8B1B0D-232F-4069-BC12-EDDF6400BB09}"/>
                  </a:ext>
                </a:extLst>
              </p:cNvPr>
              <p:cNvSpPr txBox="1"/>
              <p:nvPr/>
            </p:nvSpPr>
            <p:spPr>
              <a:xfrm>
                <a:off x="7648339" y="5778032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78" name="Tall Photo Placeholder">
                <a:extLst>
                  <a:ext uri="{FF2B5EF4-FFF2-40B4-BE49-F238E27FC236}">
                    <a16:creationId xmlns:a16="http://schemas.microsoft.com/office/drawing/2014/main" id="{07CC3809-4154-4FB4-BDA6-CB7A214A7E2E}"/>
                  </a:ext>
                </a:extLst>
              </p:cNvPr>
              <p:cNvGrpSpPr/>
              <p:nvPr/>
            </p:nvGrpSpPr>
            <p:grpSpPr>
              <a:xfrm>
                <a:off x="7637874" y="4658912"/>
                <a:ext cx="645537" cy="963817"/>
                <a:chOff x="5841594" y="4162695"/>
                <a:chExt cx="757401" cy="1025588"/>
              </a:xfrm>
            </p:grpSpPr>
            <p:sp>
              <p:nvSpPr>
                <p:cNvPr id="79" name="Image Placeholder">
                  <a:extLst>
                    <a:ext uri="{FF2B5EF4-FFF2-40B4-BE49-F238E27FC236}">
                      <a16:creationId xmlns:a16="http://schemas.microsoft.com/office/drawing/2014/main" id="{940CC4A8-F0BF-4E82-8547-94240D5D0E33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80" name="Person Icon" descr="User">
                  <a:extLst>
                    <a:ext uri="{FF2B5EF4-FFF2-40B4-BE49-F238E27FC236}">
                      <a16:creationId xmlns:a16="http://schemas.microsoft.com/office/drawing/2014/main" id="{75DC2765-94F0-49CD-B988-B4F97D28BE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98" name="Highlighted Text">
                <a:extLst>
                  <a:ext uri="{FF2B5EF4-FFF2-40B4-BE49-F238E27FC236}">
                    <a16:creationId xmlns:a16="http://schemas.microsoft.com/office/drawing/2014/main" id="{4D43C252-5DA4-4DE6-867B-F5E1A15339B4}"/>
                  </a:ext>
                </a:extLst>
              </p:cNvPr>
              <p:cNvSpPr txBox="1"/>
              <p:nvPr/>
            </p:nvSpPr>
            <p:spPr>
              <a:xfrm>
                <a:off x="7637874" y="5680629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312" name="Shopping Item 2">
              <a:extLst>
                <a:ext uri="{FF2B5EF4-FFF2-40B4-BE49-F238E27FC236}">
                  <a16:creationId xmlns:a16="http://schemas.microsoft.com/office/drawing/2014/main" id="{AB486CA0-559C-463F-B8A0-01BD119D7B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888333" y="4660045"/>
              <a:ext cx="645537" cy="1373036"/>
              <a:chOff x="6888333" y="4660045"/>
              <a:chExt cx="645537" cy="1373036"/>
            </a:xfrm>
          </p:grpSpPr>
          <p:sp>
            <p:nvSpPr>
              <p:cNvPr id="73" name="Text Placeholder">
                <a:extLst>
                  <a:ext uri="{FF2B5EF4-FFF2-40B4-BE49-F238E27FC236}">
                    <a16:creationId xmlns:a16="http://schemas.microsoft.com/office/drawing/2014/main" id="{A9B76589-7EE3-46E3-A759-AF9672102CD7}"/>
                  </a:ext>
                </a:extLst>
              </p:cNvPr>
              <p:cNvSpPr txBox="1"/>
              <p:nvPr/>
            </p:nvSpPr>
            <p:spPr>
              <a:xfrm>
                <a:off x="6898798" y="5779165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74" name="Tall Photo Placeholder">
                <a:extLst>
                  <a:ext uri="{FF2B5EF4-FFF2-40B4-BE49-F238E27FC236}">
                    <a16:creationId xmlns:a16="http://schemas.microsoft.com/office/drawing/2014/main" id="{EB5801FA-7156-42B0-8EF9-228C9AE33A89}"/>
                  </a:ext>
                </a:extLst>
              </p:cNvPr>
              <p:cNvGrpSpPr/>
              <p:nvPr/>
            </p:nvGrpSpPr>
            <p:grpSpPr>
              <a:xfrm>
                <a:off x="6888333" y="4660045"/>
                <a:ext cx="645537" cy="963817"/>
                <a:chOff x="5841594" y="4162695"/>
                <a:chExt cx="757401" cy="1025588"/>
              </a:xfrm>
            </p:grpSpPr>
            <p:sp>
              <p:nvSpPr>
                <p:cNvPr id="75" name="Image Placeholder">
                  <a:extLst>
                    <a:ext uri="{FF2B5EF4-FFF2-40B4-BE49-F238E27FC236}">
                      <a16:creationId xmlns:a16="http://schemas.microsoft.com/office/drawing/2014/main" id="{3CB1794F-CBAB-48B3-B4C7-7768E980B78F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76" name="Person Icon" descr="User">
                  <a:extLst>
                    <a:ext uri="{FF2B5EF4-FFF2-40B4-BE49-F238E27FC236}">
                      <a16:creationId xmlns:a16="http://schemas.microsoft.com/office/drawing/2014/main" id="{AD66F30C-C05F-4089-B139-D88D3CDF8D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97" name="Highlighted Text">
                <a:extLst>
                  <a:ext uri="{FF2B5EF4-FFF2-40B4-BE49-F238E27FC236}">
                    <a16:creationId xmlns:a16="http://schemas.microsoft.com/office/drawing/2014/main" id="{81E9388B-3D53-4762-8E2F-A6C3289C414A}"/>
                  </a:ext>
                </a:extLst>
              </p:cNvPr>
              <p:cNvSpPr txBox="1"/>
              <p:nvPr/>
            </p:nvSpPr>
            <p:spPr>
              <a:xfrm>
                <a:off x="6888333" y="5682740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313" name="Shopping Item 1">
              <a:extLst>
                <a:ext uri="{FF2B5EF4-FFF2-40B4-BE49-F238E27FC236}">
                  <a16:creationId xmlns:a16="http://schemas.microsoft.com/office/drawing/2014/main" id="{0E3A172C-44A4-4BF5-9CA0-6D413912BC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132876" y="4670586"/>
              <a:ext cx="645537" cy="1373036"/>
              <a:chOff x="6132876" y="4670586"/>
              <a:chExt cx="645537" cy="1373036"/>
            </a:xfrm>
          </p:grpSpPr>
          <p:sp>
            <p:nvSpPr>
              <p:cNvPr id="71" name="Text Placeholder">
                <a:extLst>
                  <a:ext uri="{FF2B5EF4-FFF2-40B4-BE49-F238E27FC236}">
                    <a16:creationId xmlns:a16="http://schemas.microsoft.com/office/drawing/2014/main" id="{F77836BA-F101-4BA1-9E3B-2F604D2980AA}"/>
                  </a:ext>
                </a:extLst>
              </p:cNvPr>
              <p:cNvSpPr txBox="1"/>
              <p:nvPr/>
            </p:nvSpPr>
            <p:spPr>
              <a:xfrm>
                <a:off x="6160159" y="5789706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16" name="Tall Photo Placeholder">
                <a:extLst>
                  <a:ext uri="{FF2B5EF4-FFF2-40B4-BE49-F238E27FC236}">
                    <a16:creationId xmlns:a16="http://schemas.microsoft.com/office/drawing/2014/main" id="{C6A95EF4-31A6-4AF7-A14F-14CE7519BF70}"/>
                  </a:ext>
                </a:extLst>
              </p:cNvPr>
              <p:cNvGrpSpPr/>
              <p:nvPr/>
            </p:nvGrpSpPr>
            <p:grpSpPr>
              <a:xfrm>
                <a:off x="6132876" y="4670586"/>
                <a:ext cx="645537" cy="963817"/>
                <a:chOff x="5841594" y="4162695"/>
                <a:chExt cx="757401" cy="1025588"/>
              </a:xfrm>
            </p:grpSpPr>
            <p:sp>
              <p:nvSpPr>
                <p:cNvPr id="70" name="Photo Placeholder">
                  <a:extLst>
                    <a:ext uri="{FF2B5EF4-FFF2-40B4-BE49-F238E27FC236}">
                      <a16:creationId xmlns:a16="http://schemas.microsoft.com/office/drawing/2014/main" id="{94D39877-F132-497D-8C35-14A00CE3F1DA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72" name="Person Icon" descr="User">
                  <a:extLst>
                    <a:ext uri="{FF2B5EF4-FFF2-40B4-BE49-F238E27FC236}">
                      <a16:creationId xmlns:a16="http://schemas.microsoft.com/office/drawing/2014/main" id="{077C75F6-A467-4086-945E-5301230738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96" name="Highlighted Text">
                <a:extLst>
                  <a:ext uri="{FF2B5EF4-FFF2-40B4-BE49-F238E27FC236}">
                    <a16:creationId xmlns:a16="http://schemas.microsoft.com/office/drawing/2014/main" id="{B52D97F7-2EA3-4714-86E3-2BECE0A4E8F3}"/>
                  </a:ext>
                </a:extLst>
              </p:cNvPr>
              <p:cNvSpPr txBox="1"/>
              <p:nvPr/>
            </p:nvSpPr>
            <p:spPr>
              <a:xfrm>
                <a:off x="6137387" y="5682740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  <p:grpSp>
            <p:nvGrpSpPr>
              <p:cNvPr id="301" name="Quick Look Button">
                <a:extLst>
                  <a:ext uri="{FF2B5EF4-FFF2-40B4-BE49-F238E27FC236}">
                    <a16:creationId xmlns:a16="http://schemas.microsoft.com/office/drawing/2014/main" id="{6F862E13-1634-49A2-8E0B-2ED594D00738}"/>
                  </a:ext>
                </a:extLst>
              </p:cNvPr>
              <p:cNvGrpSpPr/>
              <p:nvPr/>
            </p:nvGrpSpPr>
            <p:grpSpPr>
              <a:xfrm>
                <a:off x="6184637" y="5274886"/>
                <a:ext cx="537036" cy="139451"/>
                <a:chOff x="6184637" y="5274886"/>
                <a:chExt cx="537036" cy="139451"/>
              </a:xfrm>
            </p:grpSpPr>
            <p:sp>
              <p:nvSpPr>
                <p:cNvPr id="123" name="Quick Look Box and Text">
                  <a:extLst>
                    <a:ext uri="{FF2B5EF4-FFF2-40B4-BE49-F238E27FC236}">
                      <a16:creationId xmlns:a16="http://schemas.microsoft.com/office/drawing/2014/main" id="{5FB1040C-000E-4846-A23B-DC05C08D66B7}"/>
                    </a:ext>
                  </a:extLst>
                </p:cNvPr>
                <p:cNvSpPr/>
                <p:nvPr/>
              </p:nvSpPr>
              <p:spPr>
                <a:xfrm>
                  <a:off x="6184637" y="5274886"/>
                  <a:ext cx="537036" cy="139451"/>
                </a:xfrm>
                <a:prstGeom prst="roundRect">
                  <a:avLst>
                    <a:gd name="adj" fmla="val 5971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bg1">
                      <a:lumMod val="9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2024747198">
                        <a:custGeom>
                          <a:avLst/>
                          <a:gdLst>
                            <a:gd name="connsiteX0" fmla="*/ 0 w 1087393"/>
                            <a:gd name="connsiteY0" fmla="*/ 9720 h 222624"/>
                            <a:gd name="connsiteX1" fmla="*/ 9720 w 1087393"/>
                            <a:gd name="connsiteY1" fmla="*/ 0 h 222624"/>
                            <a:gd name="connsiteX2" fmla="*/ 522337 w 1087393"/>
                            <a:gd name="connsiteY2" fmla="*/ 0 h 222624"/>
                            <a:gd name="connsiteX3" fmla="*/ 1077673 w 1087393"/>
                            <a:gd name="connsiteY3" fmla="*/ 0 h 222624"/>
                            <a:gd name="connsiteX4" fmla="*/ 1087393 w 1087393"/>
                            <a:gd name="connsiteY4" fmla="*/ 9720 h 222624"/>
                            <a:gd name="connsiteX5" fmla="*/ 1087393 w 1087393"/>
                            <a:gd name="connsiteY5" fmla="*/ 212904 h 222624"/>
                            <a:gd name="connsiteX6" fmla="*/ 1077673 w 1087393"/>
                            <a:gd name="connsiteY6" fmla="*/ 222624 h 222624"/>
                            <a:gd name="connsiteX7" fmla="*/ 522337 w 1087393"/>
                            <a:gd name="connsiteY7" fmla="*/ 222624 h 222624"/>
                            <a:gd name="connsiteX8" fmla="*/ 9720 w 1087393"/>
                            <a:gd name="connsiteY8" fmla="*/ 222624 h 222624"/>
                            <a:gd name="connsiteX9" fmla="*/ 0 w 1087393"/>
                            <a:gd name="connsiteY9" fmla="*/ 212904 h 222624"/>
                            <a:gd name="connsiteX10" fmla="*/ 0 w 1087393"/>
                            <a:gd name="connsiteY10" fmla="*/ 9720 h 22262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1087393" h="222624" fill="none" extrusionOk="0">
                              <a:moveTo>
                                <a:pt x="0" y="9720"/>
                              </a:moveTo>
                              <a:cubicBezTo>
                                <a:pt x="60" y="3476"/>
                                <a:pt x="3747" y="1064"/>
                                <a:pt x="9720" y="0"/>
                              </a:cubicBezTo>
                              <a:cubicBezTo>
                                <a:pt x="136064" y="-4207"/>
                                <a:pt x="410953" y="-21449"/>
                                <a:pt x="522337" y="0"/>
                              </a:cubicBezTo>
                              <a:cubicBezTo>
                                <a:pt x="633721" y="21449"/>
                                <a:pt x="851849" y="13656"/>
                                <a:pt x="1077673" y="0"/>
                              </a:cubicBezTo>
                              <a:cubicBezTo>
                                <a:pt x="1082205" y="223"/>
                                <a:pt x="1087479" y="3398"/>
                                <a:pt x="1087393" y="9720"/>
                              </a:cubicBezTo>
                              <a:cubicBezTo>
                                <a:pt x="1082580" y="58902"/>
                                <a:pt x="1088751" y="143893"/>
                                <a:pt x="1087393" y="212904"/>
                              </a:cubicBezTo>
                              <a:cubicBezTo>
                                <a:pt x="1086895" y="219491"/>
                                <a:pt x="1083673" y="223688"/>
                                <a:pt x="1077673" y="222624"/>
                              </a:cubicBezTo>
                              <a:cubicBezTo>
                                <a:pt x="898233" y="210408"/>
                                <a:pt x="648669" y="242746"/>
                                <a:pt x="522337" y="222624"/>
                              </a:cubicBezTo>
                              <a:cubicBezTo>
                                <a:pt x="396005" y="202502"/>
                                <a:pt x="261719" y="230989"/>
                                <a:pt x="9720" y="222624"/>
                              </a:cubicBezTo>
                              <a:cubicBezTo>
                                <a:pt x="4359" y="223352"/>
                                <a:pt x="1104" y="217943"/>
                                <a:pt x="0" y="212904"/>
                              </a:cubicBezTo>
                              <a:cubicBezTo>
                                <a:pt x="10115" y="121888"/>
                                <a:pt x="-2116" y="106678"/>
                                <a:pt x="0" y="9720"/>
                              </a:cubicBezTo>
                              <a:close/>
                            </a:path>
                            <a:path w="1087393" h="222624" stroke="0" extrusionOk="0">
                              <a:moveTo>
                                <a:pt x="0" y="9720"/>
                              </a:moveTo>
                              <a:cubicBezTo>
                                <a:pt x="609" y="3201"/>
                                <a:pt x="3755" y="1152"/>
                                <a:pt x="9720" y="0"/>
                              </a:cubicBezTo>
                              <a:cubicBezTo>
                                <a:pt x="208498" y="-24618"/>
                                <a:pt x="301101" y="25266"/>
                                <a:pt x="554376" y="0"/>
                              </a:cubicBezTo>
                              <a:cubicBezTo>
                                <a:pt x="807651" y="-25266"/>
                                <a:pt x="882934" y="-2660"/>
                                <a:pt x="1077673" y="0"/>
                              </a:cubicBezTo>
                              <a:cubicBezTo>
                                <a:pt x="1083816" y="-217"/>
                                <a:pt x="1087815" y="4680"/>
                                <a:pt x="1087393" y="9720"/>
                              </a:cubicBezTo>
                              <a:cubicBezTo>
                                <a:pt x="1094347" y="110363"/>
                                <a:pt x="1088724" y="114396"/>
                                <a:pt x="1087393" y="212904"/>
                              </a:cubicBezTo>
                              <a:cubicBezTo>
                                <a:pt x="1086374" y="218130"/>
                                <a:pt x="1082853" y="222737"/>
                                <a:pt x="1077673" y="222624"/>
                              </a:cubicBezTo>
                              <a:cubicBezTo>
                                <a:pt x="878819" y="241731"/>
                                <a:pt x="756354" y="212666"/>
                                <a:pt x="522337" y="222624"/>
                              </a:cubicBezTo>
                              <a:cubicBezTo>
                                <a:pt x="288320" y="232582"/>
                                <a:pt x="180490" y="236260"/>
                                <a:pt x="9720" y="222624"/>
                              </a:cubicBezTo>
                              <a:cubicBezTo>
                                <a:pt x="4207" y="223205"/>
                                <a:pt x="-1195" y="218151"/>
                                <a:pt x="0" y="212904"/>
                              </a:cubicBezTo>
                              <a:cubicBezTo>
                                <a:pt x="-4823" y="150566"/>
                                <a:pt x="-4117" y="87626"/>
                                <a:pt x="0" y="9720"/>
                              </a:cubicBezTo>
                              <a:close/>
                            </a:path>
                          </a:pathLst>
                        </a:custGeom>
                        <ask:type>
                          <ask:lineSketchNone/>
                        </ask:type>
                        <ask:seed>2024747198</ask:seed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5720" rtlCol="0" anchor="ctr"/>
                <a:lstStyle/>
                <a:p>
                  <a:r>
                    <a:rPr lang="en-US" sz="58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Quick Look</a:t>
                  </a:r>
                </a:p>
              </p:txBody>
            </p:sp>
            <p:grpSp>
              <p:nvGrpSpPr>
                <p:cNvPr id="124" name="Quick Look Arrow">
                  <a:extLst>
                    <a:ext uri="{FF2B5EF4-FFF2-40B4-BE49-F238E27FC236}">
                      <a16:creationId xmlns:a16="http://schemas.microsoft.com/office/drawing/2014/main" id="{2C4D6F41-D35C-4DA4-9A01-88729B4962B5}"/>
                    </a:ext>
                  </a:extLst>
                </p:cNvPr>
                <p:cNvGrpSpPr/>
                <p:nvPr/>
              </p:nvGrpSpPr>
              <p:grpSpPr>
                <a:xfrm rot="13229624">
                  <a:off x="6620628" y="5323187"/>
                  <a:ext cx="45822" cy="45822"/>
                  <a:chOff x="1411369" y="3109610"/>
                  <a:chExt cx="182868" cy="191529"/>
                </a:xfrm>
              </p:grpSpPr>
              <p:cxnSp>
                <p:nvCxnSpPr>
                  <p:cNvPr id="125" name="Line 2">
                    <a:extLst>
                      <a:ext uri="{FF2B5EF4-FFF2-40B4-BE49-F238E27FC236}">
                        <a16:creationId xmlns:a16="http://schemas.microsoft.com/office/drawing/2014/main" id="{EFA16EF8-4C9E-45E0-93D2-F8672E2BAF7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15875" cap="rnd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Line 1">
                    <a:extLst>
                      <a:ext uri="{FF2B5EF4-FFF2-40B4-BE49-F238E27FC236}">
                        <a16:creationId xmlns:a16="http://schemas.microsoft.com/office/drawing/2014/main" id="{3D4BEB44-357E-4BFB-9854-A88BBCDDAA1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15875" cap="rnd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298" name="Dropdown Box">
              <a:extLst>
                <a:ext uri="{FF2B5EF4-FFF2-40B4-BE49-F238E27FC236}">
                  <a16:creationId xmlns:a16="http://schemas.microsoft.com/office/drawing/2014/main" id="{DAB9A067-3672-484E-8D8E-4FB105DC8B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196803" y="6136503"/>
              <a:ext cx="667435" cy="147568"/>
              <a:chOff x="5196803" y="6136503"/>
              <a:chExt cx="667435" cy="147568"/>
            </a:xfrm>
          </p:grpSpPr>
          <p:sp>
            <p:nvSpPr>
              <p:cNvPr id="148" name="Dropdown Box and Text">
                <a:extLst>
                  <a:ext uri="{FF2B5EF4-FFF2-40B4-BE49-F238E27FC236}">
                    <a16:creationId xmlns:a16="http://schemas.microsoft.com/office/drawing/2014/main" id="{9C1C7BDF-3C5B-47C9-8DAF-912BC35BF31C}"/>
                  </a:ext>
                </a:extLst>
              </p:cNvPr>
              <p:cNvSpPr/>
              <p:nvPr/>
            </p:nvSpPr>
            <p:spPr>
              <a:xfrm>
                <a:off x="5196803" y="6136503"/>
                <a:ext cx="667435" cy="147568"/>
              </a:xfrm>
              <a:custGeom>
                <a:avLst/>
                <a:gdLst>
                  <a:gd name="connsiteX0" fmla="*/ 0 w 667435"/>
                  <a:gd name="connsiteY0" fmla="*/ 8811 h 147568"/>
                  <a:gd name="connsiteX1" fmla="*/ 8811 w 667435"/>
                  <a:gd name="connsiteY1" fmla="*/ 0 h 147568"/>
                  <a:gd name="connsiteX2" fmla="*/ 658624 w 667435"/>
                  <a:gd name="connsiteY2" fmla="*/ 0 h 147568"/>
                  <a:gd name="connsiteX3" fmla="*/ 667435 w 667435"/>
                  <a:gd name="connsiteY3" fmla="*/ 8811 h 147568"/>
                  <a:gd name="connsiteX4" fmla="*/ 667435 w 667435"/>
                  <a:gd name="connsiteY4" fmla="*/ 138757 h 147568"/>
                  <a:gd name="connsiteX5" fmla="*/ 658624 w 667435"/>
                  <a:gd name="connsiteY5" fmla="*/ 147568 h 147568"/>
                  <a:gd name="connsiteX6" fmla="*/ 8811 w 667435"/>
                  <a:gd name="connsiteY6" fmla="*/ 147568 h 147568"/>
                  <a:gd name="connsiteX7" fmla="*/ 0 w 667435"/>
                  <a:gd name="connsiteY7" fmla="*/ 138757 h 147568"/>
                  <a:gd name="connsiteX8" fmla="*/ 0 w 667435"/>
                  <a:gd name="connsiteY8" fmla="*/ 8811 h 14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7435" h="147568" fill="none" extrusionOk="0">
                    <a:moveTo>
                      <a:pt x="0" y="8811"/>
                    </a:moveTo>
                    <a:cubicBezTo>
                      <a:pt x="-163" y="3909"/>
                      <a:pt x="4025" y="-773"/>
                      <a:pt x="8811" y="0"/>
                    </a:cubicBezTo>
                    <a:cubicBezTo>
                      <a:pt x="182064" y="-14014"/>
                      <a:pt x="339039" y="-24489"/>
                      <a:pt x="658624" y="0"/>
                    </a:cubicBezTo>
                    <a:cubicBezTo>
                      <a:pt x="663572" y="176"/>
                      <a:pt x="667767" y="4820"/>
                      <a:pt x="667435" y="8811"/>
                    </a:cubicBezTo>
                    <a:cubicBezTo>
                      <a:pt x="672639" y="61165"/>
                      <a:pt x="673379" y="92514"/>
                      <a:pt x="667435" y="138757"/>
                    </a:cubicBezTo>
                    <a:cubicBezTo>
                      <a:pt x="666510" y="143869"/>
                      <a:pt x="663559" y="146798"/>
                      <a:pt x="658624" y="147568"/>
                    </a:cubicBezTo>
                    <a:cubicBezTo>
                      <a:pt x="337322" y="175721"/>
                      <a:pt x="148791" y="171699"/>
                      <a:pt x="8811" y="147568"/>
                    </a:cubicBezTo>
                    <a:cubicBezTo>
                      <a:pt x="3730" y="148094"/>
                      <a:pt x="406" y="144307"/>
                      <a:pt x="0" y="138757"/>
                    </a:cubicBezTo>
                    <a:cubicBezTo>
                      <a:pt x="4341" y="103900"/>
                      <a:pt x="3477" y="45891"/>
                      <a:pt x="0" y="8811"/>
                    </a:cubicBezTo>
                    <a:close/>
                  </a:path>
                  <a:path w="667435" h="147568" stroke="0" extrusionOk="0">
                    <a:moveTo>
                      <a:pt x="0" y="8811"/>
                    </a:moveTo>
                    <a:cubicBezTo>
                      <a:pt x="271" y="3433"/>
                      <a:pt x="3541" y="781"/>
                      <a:pt x="8811" y="0"/>
                    </a:cubicBezTo>
                    <a:cubicBezTo>
                      <a:pt x="303039" y="18060"/>
                      <a:pt x="485430" y="-4822"/>
                      <a:pt x="658624" y="0"/>
                    </a:cubicBezTo>
                    <a:cubicBezTo>
                      <a:pt x="662900" y="-26"/>
                      <a:pt x="667635" y="2747"/>
                      <a:pt x="667435" y="8811"/>
                    </a:cubicBezTo>
                    <a:cubicBezTo>
                      <a:pt x="662949" y="68177"/>
                      <a:pt x="661440" y="106157"/>
                      <a:pt x="667435" y="138757"/>
                    </a:cubicBezTo>
                    <a:cubicBezTo>
                      <a:pt x="667585" y="144012"/>
                      <a:pt x="663323" y="146468"/>
                      <a:pt x="658624" y="147568"/>
                    </a:cubicBezTo>
                    <a:cubicBezTo>
                      <a:pt x="486615" y="132795"/>
                      <a:pt x="210394" y="126564"/>
                      <a:pt x="8811" y="147568"/>
                    </a:cubicBezTo>
                    <a:cubicBezTo>
                      <a:pt x="3942" y="147288"/>
                      <a:pt x="-12" y="143312"/>
                      <a:pt x="0" y="138757"/>
                    </a:cubicBezTo>
                    <a:cubicBezTo>
                      <a:pt x="-1276" y="105839"/>
                      <a:pt x="1505" y="36826"/>
                      <a:pt x="0" y="881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53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       Dropdown</a:t>
                </a:r>
              </a:p>
            </p:txBody>
          </p:sp>
          <p:grpSp>
            <p:nvGrpSpPr>
              <p:cNvPr id="149" name="Dropdown Icon">
                <a:extLst>
                  <a:ext uri="{FF2B5EF4-FFF2-40B4-BE49-F238E27FC236}">
                    <a16:creationId xmlns:a16="http://schemas.microsoft.com/office/drawing/2014/main" id="{EF1790BB-A96B-4919-ACE7-CA74D07365A5}"/>
                  </a:ext>
                </a:extLst>
              </p:cNvPr>
              <p:cNvGrpSpPr/>
              <p:nvPr/>
            </p:nvGrpSpPr>
            <p:grpSpPr>
              <a:xfrm rot="18629624">
                <a:off x="5258420" y="6188246"/>
                <a:ext cx="54014" cy="48256"/>
                <a:chOff x="1410993" y="3115414"/>
                <a:chExt cx="173443" cy="190603"/>
              </a:xfrm>
            </p:grpSpPr>
            <p:cxnSp>
              <p:nvCxnSpPr>
                <p:cNvPr id="150" name="Line 2">
                  <a:extLst>
                    <a:ext uri="{FF2B5EF4-FFF2-40B4-BE49-F238E27FC236}">
                      <a16:creationId xmlns:a16="http://schemas.microsoft.com/office/drawing/2014/main" id="{B44EABC0-B3C0-4FCB-B748-D167539B931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74709" y="3196292"/>
                  <a:ext cx="109727" cy="109725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Line 1">
                  <a:extLst>
                    <a:ext uri="{FF2B5EF4-FFF2-40B4-BE49-F238E27FC236}">
                      <a16:creationId xmlns:a16="http://schemas.microsoft.com/office/drawing/2014/main" id="{A42DC5CE-93D8-40F6-9EA9-828F9AD92D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0993" y="3115414"/>
                  <a:ext cx="109727" cy="109729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46" name="Separator Line">
              <a:extLst>
                <a:ext uri="{FF2B5EF4-FFF2-40B4-BE49-F238E27FC236}">
                  <a16:creationId xmlns:a16="http://schemas.microsoft.com/office/drawing/2014/main" id="{C13B9ED1-3B73-4AA9-B427-7AD40919E4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96803" y="6090117"/>
              <a:ext cx="676656" cy="15993"/>
            </a:xfrm>
            <a:custGeom>
              <a:avLst/>
              <a:gdLst>
                <a:gd name="connsiteX0" fmla="*/ 0 w 676656"/>
                <a:gd name="connsiteY0" fmla="*/ 0 h 15993"/>
                <a:gd name="connsiteX1" fmla="*/ 676656 w 676656"/>
                <a:gd name="connsiteY1" fmla="*/ 0 h 15993"/>
                <a:gd name="connsiteX2" fmla="*/ 676656 w 676656"/>
                <a:gd name="connsiteY2" fmla="*/ 15993 h 15993"/>
                <a:gd name="connsiteX3" fmla="*/ 0 w 676656"/>
                <a:gd name="connsiteY3" fmla="*/ 15993 h 15993"/>
                <a:gd name="connsiteX4" fmla="*/ 0 w 676656"/>
                <a:gd name="connsiteY4" fmla="*/ 0 h 1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656" h="15993" fill="none" extrusionOk="0">
                  <a:moveTo>
                    <a:pt x="0" y="0"/>
                  </a:moveTo>
                  <a:cubicBezTo>
                    <a:pt x="310914" y="-4588"/>
                    <a:pt x="340019" y="32749"/>
                    <a:pt x="676656" y="0"/>
                  </a:cubicBezTo>
                  <a:cubicBezTo>
                    <a:pt x="676108" y="4133"/>
                    <a:pt x="677142" y="12529"/>
                    <a:pt x="676656" y="15993"/>
                  </a:cubicBezTo>
                  <a:cubicBezTo>
                    <a:pt x="475182" y="44309"/>
                    <a:pt x="298691" y="-11813"/>
                    <a:pt x="0" y="15993"/>
                  </a:cubicBezTo>
                  <a:cubicBezTo>
                    <a:pt x="472" y="10916"/>
                    <a:pt x="565" y="6401"/>
                    <a:pt x="0" y="0"/>
                  </a:cubicBezTo>
                  <a:close/>
                </a:path>
                <a:path w="676656" h="15993" stroke="0" extrusionOk="0">
                  <a:moveTo>
                    <a:pt x="0" y="0"/>
                  </a:moveTo>
                  <a:cubicBezTo>
                    <a:pt x="259497" y="3666"/>
                    <a:pt x="385878" y="3047"/>
                    <a:pt x="676656" y="0"/>
                  </a:cubicBezTo>
                  <a:cubicBezTo>
                    <a:pt x="676447" y="5241"/>
                    <a:pt x="676075" y="9118"/>
                    <a:pt x="676656" y="15993"/>
                  </a:cubicBezTo>
                  <a:cubicBezTo>
                    <a:pt x="489388" y="27860"/>
                    <a:pt x="204401" y="2759"/>
                    <a:pt x="0" y="15993"/>
                  </a:cubicBezTo>
                  <a:cubicBezTo>
                    <a:pt x="448" y="12321"/>
                    <a:pt x="557" y="5801"/>
                    <a:pt x="0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solidFill>
                <a:srgbClr val="E6E6E6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85" name="Dropdown Box">
              <a:extLst>
                <a:ext uri="{FF2B5EF4-FFF2-40B4-BE49-F238E27FC236}">
                  <a16:creationId xmlns:a16="http://schemas.microsoft.com/office/drawing/2014/main" id="{00F33D55-5B7F-466A-8A05-77A2481DB1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200986" y="5898276"/>
              <a:ext cx="667435" cy="147568"/>
              <a:chOff x="5200986" y="5898276"/>
              <a:chExt cx="667435" cy="147568"/>
            </a:xfrm>
          </p:grpSpPr>
          <p:sp>
            <p:nvSpPr>
              <p:cNvPr id="142" name="Dropdown Box and Text">
                <a:extLst>
                  <a:ext uri="{FF2B5EF4-FFF2-40B4-BE49-F238E27FC236}">
                    <a16:creationId xmlns:a16="http://schemas.microsoft.com/office/drawing/2014/main" id="{8987FFDB-0669-409C-A024-28D9601BB872}"/>
                  </a:ext>
                </a:extLst>
              </p:cNvPr>
              <p:cNvSpPr/>
              <p:nvPr/>
            </p:nvSpPr>
            <p:spPr>
              <a:xfrm>
                <a:off x="5200986" y="5898276"/>
                <a:ext cx="667435" cy="147568"/>
              </a:xfrm>
              <a:custGeom>
                <a:avLst/>
                <a:gdLst>
                  <a:gd name="connsiteX0" fmla="*/ 0 w 667435"/>
                  <a:gd name="connsiteY0" fmla="*/ 8811 h 147568"/>
                  <a:gd name="connsiteX1" fmla="*/ 8811 w 667435"/>
                  <a:gd name="connsiteY1" fmla="*/ 0 h 147568"/>
                  <a:gd name="connsiteX2" fmla="*/ 658624 w 667435"/>
                  <a:gd name="connsiteY2" fmla="*/ 0 h 147568"/>
                  <a:gd name="connsiteX3" fmla="*/ 667435 w 667435"/>
                  <a:gd name="connsiteY3" fmla="*/ 8811 h 147568"/>
                  <a:gd name="connsiteX4" fmla="*/ 667435 w 667435"/>
                  <a:gd name="connsiteY4" fmla="*/ 138757 h 147568"/>
                  <a:gd name="connsiteX5" fmla="*/ 658624 w 667435"/>
                  <a:gd name="connsiteY5" fmla="*/ 147568 h 147568"/>
                  <a:gd name="connsiteX6" fmla="*/ 8811 w 667435"/>
                  <a:gd name="connsiteY6" fmla="*/ 147568 h 147568"/>
                  <a:gd name="connsiteX7" fmla="*/ 0 w 667435"/>
                  <a:gd name="connsiteY7" fmla="*/ 138757 h 147568"/>
                  <a:gd name="connsiteX8" fmla="*/ 0 w 667435"/>
                  <a:gd name="connsiteY8" fmla="*/ 8811 h 14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7435" h="147568" fill="none" extrusionOk="0">
                    <a:moveTo>
                      <a:pt x="0" y="8811"/>
                    </a:moveTo>
                    <a:cubicBezTo>
                      <a:pt x="-163" y="3909"/>
                      <a:pt x="4025" y="-773"/>
                      <a:pt x="8811" y="0"/>
                    </a:cubicBezTo>
                    <a:cubicBezTo>
                      <a:pt x="182064" y="-14014"/>
                      <a:pt x="339039" y="-24489"/>
                      <a:pt x="658624" y="0"/>
                    </a:cubicBezTo>
                    <a:cubicBezTo>
                      <a:pt x="663572" y="176"/>
                      <a:pt x="667767" y="4820"/>
                      <a:pt x="667435" y="8811"/>
                    </a:cubicBezTo>
                    <a:cubicBezTo>
                      <a:pt x="672639" y="61165"/>
                      <a:pt x="673379" y="92514"/>
                      <a:pt x="667435" y="138757"/>
                    </a:cubicBezTo>
                    <a:cubicBezTo>
                      <a:pt x="666510" y="143869"/>
                      <a:pt x="663559" y="146798"/>
                      <a:pt x="658624" y="147568"/>
                    </a:cubicBezTo>
                    <a:cubicBezTo>
                      <a:pt x="337322" y="175721"/>
                      <a:pt x="148791" y="171699"/>
                      <a:pt x="8811" y="147568"/>
                    </a:cubicBezTo>
                    <a:cubicBezTo>
                      <a:pt x="3730" y="148094"/>
                      <a:pt x="406" y="144307"/>
                      <a:pt x="0" y="138757"/>
                    </a:cubicBezTo>
                    <a:cubicBezTo>
                      <a:pt x="4341" y="103900"/>
                      <a:pt x="3477" y="45891"/>
                      <a:pt x="0" y="8811"/>
                    </a:cubicBezTo>
                    <a:close/>
                  </a:path>
                  <a:path w="667435" h="147568" stroke="0" extrusionOk="0">
                    <a:moveTo>
                      <a:pt x="0" y="8811"/>
                    </a:moveTo>
                    <a:cubicBezTo>
                      <a:pt x="271" y="3433"/>
                      <a:pt x="3541" y="781"/>
                      <a:pt x="8811" y="0"/>
                    </a:cubicBezTo>
                    <a:cubicBezTo>
                      <a:pt x="303039" y="18060"/>
                      <a:pt x="485430" y="-4822"/>
                      <a:pt x="658624" y="0"/>
                    </a:cubicBezTo>
                    <a:cubicBezTo>
                      <a:pt x="662900" y="-26"/>
                      <a:pt x="667635" y="2747"/>
                      <a:pt x="667435" y="8811"/>
                    </a:cubicBezTo>
                    <a:cubicBezTo>
                      <a:pt x="662949" y="68177"/>
                      <a:pt x="661440" y="106157"/>
                      <a:pt x="667435" y="138757"/>
                    </a:cubicBezTo>
                    <a:cubicBezTo>
                      <a:pt x="667585" y="144012"/>
                      <a:pt x="663323" y="146468"/>
                      <a:pt x="658624" y="147568"/>
                    </a:cubicBezTo>
                    <a:cubicBezTo>
                      <a:pt x="486615" y="132795"/>
                      <a:pt x="210394" y="126564"/>
                      <a:pt x="8811" y="147568"/>
                    </a:cubicBezTo>
                    <a:cubicBezTo>
                      <a:pt x="3942" y="147288"/>
                      <a:pt x="-12" y="143312"/>
                      <a:pt x="0" y="138757"/>
                    </a:cubicBezTo>
                    <a:cubicBezTo>
                      <a:pt x="-1276" y="105839"/>
                      <a:pt x="1505" y="36826"/>
                      <a:pt x="0" y="881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53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       Dropdown</a:t>
                </a:r>
              </a:p>
            </p:txBody>
          </p:sp>
          <p:grpSp>
            <p:nvGrpSpPr>
              <p:cNvPr id="143" name="Dropdown Icon">
                <a:extLst>
                  <a:ext uri="{FF2B5EF4-FFF2-40B4-BE49-F238E27FC236}">
                    <a16:creationId xmlns:a16="http://schemas.microsoft.com/office/drawing/2014/main" id="{E8F55FCE-8CF7-4CF1-8CBD-74226FE0F709}"/>
                  </a:ext>
                </a:extLst>
              </p:cNvPr>
              <p:cNvGrpSpPr/>
              <p:nvPr/>
            </p:nvGrpSpPr>
            <p:grpSpPr>
              <a:xfrm rot="13229624">
                <a:off x="5261332" y="5947358"/>
                <a:ext cx="55481" cy="48374"/>
                <a:chOff x="1416080" y="3110065"/>
                <a:chExt cx="178157" cy="191074"/>
              </a:xfrm>
            </p:grpSpPr>
            <p:cxnSp>
              <p:nvCxnSpPr>
                <p:cNvPr id="144" name="Line 2">
                  <a:extLst>
                    <a:ext uri="{FF2B5EF4-FFF2-40B4-BE49-F238E27FC236}">
                      <a16:creationId xmlns:a16="http://schemas.microsoft.com/office/drawing/2014/main" id="{5F6F64EC-85A6-438C-9122-6B16A026E2B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" name="Line 1">
                  <a:extLst>
                    <a:ext uri="{FF2B5EF4-FFF2-40B4-BE49-F238E27FC236}">
                      <a16:creationId xmlns:a16="http://schemas.microsoft.com/office/drawing/2014/main" id="{6E455D9F-B0AE-40AF-A6F5-FE062F0C30D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6080" y="3110065"/>
                  <a:ext cx="109730" cy="109730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28" name="Separator Line">
              <a:extLst>
                <a:ext uri="{FF2B5EF4-FFF2-40B4-BE49-F238E27FC236}">
                  <a16:creationId xmlns:a16="http://schemas.microsoft.com/office/drawing/2014/main" id="{07BEB85B-10B4-493B-9329-296822B54F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98956" y="5849549"/>
              <a:ext cx="676656" cy="15993"/>
            </a:xfrm>
            <a:custGeom>
              <a:avLst/>
              <a:gdLst>
                <a:gd name="connsiteX0" fmla="*/ 0 w 676656"/>
                <a:gd name="connsiteY0" fmla="*/ 0 h 15993"/>
                <a:gd name="connsiteX1" fmla="*/ 676656 w 676656"/>
                <a:gd name="connsiteY1" fmla="*/ 0 h 15993"/>
                <a:gd name="connsiteX2" fmla="*/ 676656 w 676656"/>
                <a:gd name="connsiteY2" fmla="*/ 15993 h 15993"/>
                <a:gd name="connsiteX3" fmla="*/ 0 w 676656"/>
                <a:gd name="connsiteY3" fmla="*/ 15993 h 15993"/>
                <a:gd name="connsiteX4" fmla="*/ 0 w 676656"/>
                <a:gd name="connsiteY4" fmla="*/ 0 h 1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656" h="15993" fill="none" extrusionOk="0">
                  <a:moveTo>
                    <a:pt x="0" y="0"/>
                  </a:moveTo>
                  <a:cubicBezTo>
                    <a:pt x="310914" y="-4588"/>
                    <a:pt x="340019" y="32749"/>
                    <a:pt x="676656" y="0"/>
                  </a:cubicBezTo>
                  <a:cubicBezTo>
                    <a:pt x="676108" y="4133"/>
                    <a:pt x="677142" y="12529"/>
                    <a:pt x="676656" y="15993"/>
                  </a:cubicBezTo>
                  <a:cubicBezTo>
                    <a:pt x="475182" y="44309"/>
                    <a:pt x="298691" y="-11813"/>
                    <a:pt x="0" y="15993"/>
                  </a:cubicBezTo>
                  <a:cubicBezTo>
                    <a:pt x="472" y="10916"/>
                    <a:pt x="565" y="6401"/>
                    <a:pt x="0" y="0"/>
                  </a:cubicBezTo>
                  <a:close/>
                </a:path>
                <a:path w="676656" h="15993" stroke="0" extrusionOk="0">
                  <a:moveTo>
                    <a:pt x="0" y="0"/>
                  </a:moveTo>
                  <a:cubicBezTo>
                    <a:pt x="259497" y="3666"/>
                    <a:pt x="385878" y="3047"/>
                    <a:pt x="676656" y="0"/>
                  </a:cubicBezTo>
                  <a:cubicBezTo>
                    <a:pt x="676447" y="5241"/>
                    <a:pt x="676075" y="9118"/>
                    <a:pt x="676656" y="15993"/>
                  </a:cubicBezTo>
                  <a:cubicBezTo>
                    <a:pt x="489388" y="27860"/>
                    <a:pt x="204401" y="2759"/>
                    <a:pt x="0" y="15993"/>
                  </a:cubicBezTo>
                  <a:cubicBezTo>
                    <a:pt x="448" y="12321"/>
                    <a:pt x="557" y="5801"/>
                    <a:pt x="0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solidFill>
                <a:srgbClr val="E6E6E6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Clear Filter Text">
              <a:extLst>
                <a:ext uri="{FF2B5EF4-FFF2-40B4-BE49-F238E27FC236}">
                  <a16:creationId xmlns:a16="http://schemas.microsoft.com/office/drawing/2014/main" id="{100A28B2-964B-472D-A35C-268B18655391}"/>
                </a:ext>
              </a:extLst>
            </p:cNvPr>
            <p:cNvSpPr txBox="1"/>
            <p:nvPr/>
          </p:nvSpPr>
          <p:spPr>
            <a:xfrm>
              <a:off x="5203835" y="5729188"/>
              <a:ext cx="639346" cy="66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470" dirty="0">
                  <a:solidFill>
                    <a:srgbClr val="286428"/>
                  </a:solidFill>
                </a:rPr>
                <a:t>CLEAR FILTERS</a:t>
              </a:r>
            </a:p>
          </p:txBody>
        </p:sp>
        <p:sp>
          <p:nvSpPr>
            <p:cNvPr id="139" name="Filters Heading Text">
              <a:extLst>
                <a:ext uri="{FF2B5EF4-FFF2-40B4-BE49-F238E27FC236}">
                  <a16:creationId xmlns:a16="http://schemas.microsoft.com/office/drawing/2014/main" id="{196601C5-6184-4672-934B-B9E1F85B3A98}"/>
                </a:ext>
              </a:extLst>
            </p:cNvPr>
            <p:cNvSpPr txBox="1"/>
            <p:nvPr/>
          </p:nvSpPr>
          <p:spPr>
            <a:xfrm>
              <a:off x="5198956" y="5570773"/>
              <a:ext cx="670913" cy="1063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90" dirty="0">
                  <a:solidFill>
                    <a:srgbClr val="484848"/>
                  </a:solidFill>
                </a:rPr>
                <a:t>Filters</a:t>
              </a:r>
            </a:p>
          </p:txBody>
        </p:sp>
        <p:grpSp>
          <p:nvGrpSpPr>
            <p:cNvPr id="334" name="All Games Text Listing">
              <a:extLst>
                <a:ext uri="{FF2B5EF4-FFF2-40B4-BE49-F238E27FC236}">
                  <a16:creationId xmlns:a16="http://schemas.microsoft.com/office/drawing/2014/main" id="{334D6FAB-CC39-4D27-A0C3-F859132EEA0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234155" y="4664983"/>
              <a:ext cx="644507" cy="800417"/>
              <a:chOff x="5234155" y="4664983"/>
              <a:chExt cx="644507" cy="800417"/>
            </a:xfrm>
          </p:grpSpPr>
          <p:sp>
            <p:nvSpPr>
              <p:cNvPr id="137" name="Option 5 Text">
                <a:extLst>
                  <a:ext uri="{FF2B5EF4-FFF2-40B4-BE49-F238E27FC236}">
                    <a16:creationId xmlns:a16="http://schemas.microsoft.com/office/drawing/2014/main" id="{7FB39543-99E7-4186-972E-45BDA462E29A}"/>
                  </a:ext>
                </a:extLst>
              </p:cNvPr>
              <p:cNvSpPr txBox="1"/>
              <p:nvPr/>
            </p:nvSpPr>
            <p:spPr>
              <a:xfrm>
                <a:off x="5238273" y="5389802"/>
                <a:ext cx="63426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5</a:t>
                </a:r>
              </a:p>
            </p:txBody>
          </p:sp>
          <p:sp>
            <p:nvSpPr>
              <p:cNvPr id="136" name="Option 4 Text">
                <a:extLst>
                  <a:ext uri="{FF2B5EF4-FFF2-40B4-BE49-F238E27FC236}">
                    <a16:creationId xmlns:a16="http://schemas.microsoft.com/office/drawing/2014/main" id="{B3D14F3A-1993-45CA-B4C4-71EBD410DF6E}"/>
                  </a:ext>
                </a:extLst>
              </p:cNvPr>
              <p:cNvSpPr txBox="1"/>
              <p:nvPr/>
            </p:nvSpPr>
            <p:spPr>
              <a:xfrm>
                <a:off x="5234155" y="5245578"/>
                <a:ext cx="63426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4</a:t>
                </a:r>
              </a:p>
            </p:txBody>
          </p:sp>
          <p:sp>
            <p:nvSpPr>
              <p:cNvPr id="135" name="Option 3 Text">
                <a:extLst>
                  <a:ext uri="{FF2B5EF4-FFF2-40B4-BE49-F238E27FC236}">
                    <a16:creationId xmlns:a16="http://schemas.microsoft.com/office/drawing/2014/main" id="{7778A2A8-0F72-4417-9D7E-662EF6FC70F1}"/>
                  </a:ext>
                </a:extLst>
              </p:cNvPr>
              <p:cNvSpPr txBox="1"/>
              <p:nvPr/>
            </p:nvSpPr>
            <p:spPr>
              <a:xfrm>
                <a:off x="5236291" y="5100429"/>
                <a:ext cx="63426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3</a:t>
                </a:r>
              </a:p>
            </p:txBody>
          </p:sp>
          <p:sp>
            <p:nvSpPr>
              <p:cNvPr id="134" name="Option 2 Text">
                <a:extLst>
                  <a:ext uri="{FF2B5EF4-FFF2-40B4-BE49-F238E27FC236}">
                    <a16:creationId xmlns:a16="http://schemas.microsoft.com/office/drawing/2014/main" id="{10D15443-89EC-44DA-B80A-04F462A61109}"/>
                  </a:ext>
                </a:extLst>
              </p:cNvPr>
              <p:cNvSpPr txBox="1"/>
              <p:nvPr/>
            </p:nvSpPr>
            <p:spPr>
              <a:xfrm>
                <a:off x="5238273" y="4955281"/>
                <a:ext cx="63426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2</a:t>
                </a:r>
              </a:p>
            </p:txBody>
          </p:sp>
          <p:sp>
            <p:nvSpPr>
              <p:cNvPr id="133" name="Option 1 Text">
                <a:extLst>
                  <a:ext uri="{FF2B5EF4-FFF2-40B4-BE49-F238E27FC236}">
                    <a16:creationId xmlns:a16="http://schemas.microsoft.com/office/drawing/2014/main" id="{F4EBC60B-F434-4EC3-8961-4BA9048FD691}"/>
                  </a:ext>
                </a:extLst>
              </p:cNvPr>
              <p:cNvSpPr txBox="1"/>
              <p:nvPr/>
            </p:nvSpPr>
            <p:spPr>
              <a:xfrm>
                <a:off x="5238273" y="4810132"/>
                <a:ext cx="634266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1</a:t>
                </a:r>
              </a:p>
            </p:txBody>
          </p:sp>
          <p:sp>
            <p:nvSpPr>
              <p:cNvPr id="132" name="All Xbox Games Text">
                <a:extLst>
                  <a:ext uri="{FF2B5EF4-FFF2-40B4-BE49-F238E27FC236}">
                    <a16:creationId xmlns:a16="http://schemas.microsoft.com/office/drawing/2014/main" id="{158624A9-8439-42F2-AD58-39FA0294A31A}"/>
                  </a:ext>
                </a:extLst>
              </p:cNvPr>
              <p:cNvSpPr txBox="1"/>
              <p:nvPr/>
            </p:nvSpPr>
            <p:spPr>
              <a:xfrm>
                <a:off x="5239316" y="4664983"/>
                <a:ext cx="63934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286428"/>
                    </a:solidFill>
                  </a:rPr>
                  <a:t>All Contoso Products</a:t>
                </a:r>
              </a:p>
            </p:txBody>
          </p:sp>
        </p:grpSp>
        <p:sp>
          <p:nvSpPr>
            <p:cNvPr id="21" name="Separator Line">
              <a:extLst>
                <a:ext uri="{FF2B5EF4-FFF2-40B4-BE49-F238E27FC236}">
                  <a16:creationId xmlns:a16="http://schemas.microsoft.com/office/drawing/2014/main" id="{B6568B17-548C-48DC-BD26-0C79FB325F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98956" y="4578991"/>
              <a:ext cx="676656" cy="15993"/>
            </a:xfrm>
            <a:custGeom>
              <a:avLst/>
              <a:gdLst>
                <a:gd name="connsiteX0" fmla="*/ 0 w 676656"/>
                <a:gd name="connsiteY0" fmla="*/ 0 h 15993"/>
                <a:gd name="connsiteX1" fmla="*/ 676656 w 676656"/>
                <a:gd name="connsiteY1" fmla="*/ 0 h 15993"/>
                <a:gd name="connsiteX2" fmla="*/ 676656 w 676656"/>
                <a:gd name="connsiteY2" fmla="*/ 15993 h 15993"/>
                <a:gd name="connsiteX3" fmla="*/ 0 w 676656"/>
                <a:gd name="connsiteY3" fmla="*/ 15993 h 15993"/>
                <a:gd name="connsiteX4" fmla="*/ 0 w 676656"/>
                <a:gd name="connsiteY4" fmla="*/ 0 h 1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656" h="15993" fill="none" extrusionOk="0">
                  <a:moveTo>
                    <a:pt x="0" y="0"/>
                  </a:moveTo>
                  <a:cubicBezTo>
                    <a:pt x="310914" y="-4588"/>
                    <a:pt x="340019" y="32749"/>
                    <a:pt x="676656" y="0"/>
                  </a:cubicBezTo>
                  <a:cubicBezTo>
                    <a:pt x="676108" y="4133"/>
                    <a:pt x="677142" y="12529"/>
                    <a:pt x="676656" y="15993"/>
                  </a:cubicBezTo>
                  <a:cubicBezTo>
                    <a:pt x="475182" y="44309"/>
                    <a:pt x="298691" y="-11813"/>
                    <a:pt x="0" y="15993"/>
                  </a:cubicBezTo>
                  <a:cubicBezTo>
                    <a:pt x="472" y="10916"/>
                    <a:pt x="565" y="6401"/>
                    <a:pt x="0" y="0"/>
                  </a:cubicBezTo>
                  <a:close/>
                </a:path>
                <a:path w="676656" h="15993" stroke="0" extrusionOk="0">
                  <a:moveTo>
                    <a:pt x="0" y="0"/>
                  </a:moveTo>
                  <a:cubicBezTo>
                    <a:pt x="259497" y="3666"/>
                    <a:pt x="385878" y="3047"/>
                    <a:pt x="676656" y="0"/>
                  </a:cubicBezTo>
                  <a:cubicBezTo>
                    <a:pt x="676447" y="5241"/>
                    <a:pt x="676075" y="9118"/>
                    <a:pt x="676656" y="15993"/>
                  </a:cubicBezTo>
                  <a:cubicBezTo>
                    <a:pt x="489388" y="27860"/>
                    <a:pt x="204401" y="2759"/>
                    <a:pt x="0" y="15993"/>
                  </a:cubicBezTo>
                  <a:cubicBezTo>
                    <a:pt x="448" y="12321"/>
                    <a:pt x="557" y="5801"/>
                    <a:pt x="0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solidFill>
                <a:srgbClr val="E6E6E6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Collections Subtitle">
              <a:extLst>
                <a:ext uri="{FF2B5EF4-FFF2-40B4-BE49-F238E27FC236}">
                  <a16:creationId xmlns:a16="http://schemas.microsoft.com/office/drawing/2014/main" id="{F0DC9DBC-C8A7-4646-9F71-7DDBF4472F83}"/>
                </a:ext>
              </a:extLst>
            </p:cNvPr>
            <p:cNvSpPr txBox="1"/>
            <p:nvPr/>
          </p:nvSpPr>
          <p:spPr>
            <a:xfrm>
              <a:off x="5201199" y="4356363"/>
              <a:ext cx="670913" cy="199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400" dirty="0">
                  <a:solidFill>
                    <a:srgbClr val="2E2E2E"/>
                  </a:solidFill>
                </a:rPr>
                <a:t>Duis aute irure dolor in reprehenderit in voluptate velit esse cillum dolore eu fugiat.</a:t>
              </a:r>
            </a:p>
          </p:txBody>
        </p:sp>
        <p:sp>
          <p:nvSpPr>
            <p:cNvPr id="17" name="Collections Title Text">
              <a:extLst>
                <a:ext uri="{FF2B5EF4-FFF2-40B4-BE49-F238E27FC236}">
                  <a16:creationId xmlns:a16="http://schemas.microsoft.com/office/drawing/2014/main" id="{7A4B6C20-37DB-4AFC-B158-1DFF7BB6B6B2}"/>
                </a:ext>
              </a:extLst>
            </p:cNvPr>
            <p:cNvSpPr txBox="1"/>
            <p:nvPr/>
          </p:nvSpPr>
          <p:spPr>
            <a:xfrm>
              <a:off x="5197508" y="4166612"/>
              <a:ext cx="670913" cy="1063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90" dirty="0">
                  <a:solidFill>
                    <a:srgbClr val="484848"/>
                  </a:solidFill>
                </a:rPr>
                <a:t>Collections</a:t>
              </a:r>
            </a:p>
          </p:txBody>
        </p:sp>
        <p:sp>
          <p:nvSpPr>
            <p:cNvPr id="153" name="Viewing Results Text">
              <a:extLst>
                <a:ext uri="{FF2B5EF4-FFF2-40B4-BE49-F238E27FC236}">
                  <a16:creationId xmlns:a16="http://schemas.microsoft.com/office/drawing/2014/main" id="{5249895E-363A-4270-B665-BE146E069B4C}"/>
                </a:ext>
              </a:extLst>
            </p:cNvPr>
            <p:cNvSpPr txBox="1"/>
            <p:nvPr/>
          </p:nvSpPr>
          <p:spPr>
            <a:xfrm>
              <a:off x="6137662" y="4200717"/>
              <a:ext cx="634266" cy="691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430" dirty="0">
                  <a:solidFill>
                    <a:srgbClr val="636363"/>
                  </a:solidFill>
                </a:rPr>
                <a:t>Viewing 1-50 of 837 results</a:t>
              </a:r>
            </a:p>
          </p:txBody>
        </p:sp>
        <p:grpSp>
          <p:nvGrpSpPr>
            <p:cNvPr id="284" name="Sort Text">
              <a:extLst>
                <a:ext uri="{FF2B5EF4-FFF2-40B4-BE49-F238E27FC236}">
                  <a16:creationId xmlns:a16="http://schemas.microsoft.com/office/drawing/2014/main" id="{48912A0B-E50C-4A1D-9F0D-107C98D70B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488362" y="4307732"/>
              <a:ext cx="506027" cy="66111"/>
              <a:chOff x="9488362" y="4307732"/>
              <a:chExt cx="506027" cy="66111"/>
            </a:xfrm>
          </p:grpSpPr>
          <p:sp>
            <p:nvSpPr>
              <p:cNvPr id="154" name="Sort by Newest Text">
                <a:extLst>
                  <a:ext uri="{FF2B5EF4-FFF2-40B4-BE49-F238E27FC236}">
                    <a16:creationId xmlns:a16="http://schemas.microsoft.com/office/drawing/2014/main" id="{3762E435-8552-4CF1-8F71-638548143BF0}"/>
                  </a:ext>
                </a:extLst>
              </p:cNvPr>
              <p:cNvSpPr txBox="1"/>
              <p:nvPr/>
            </p:nvSpPr>
            <p:spPr>
              <a:xfrm>
                <a:off x="9488362" y="4307732"/>
                <a:ext cx="458996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636363"/>
                    </a:solidFill>
                  </a:rPr>
                  <a:t>Sort: Newest</a:t>
                </a:r>
              </a:p>
            </p:txBody>
          </p:sp>
          <p:grpSp>
            <p:nvGrpSpPr>
              <p:cNvPr id="157" name="Dropdown Icon">
                <a:extLst>
                  <a:ext uri="{FF2B5EF4-FFF2-40B4-BE49-F238E27FC236}">
                    <a16:creationId xmlns:a16="http://schemas.microsoft.com/office/drawing/2014/main" id="{13C48AC3-40CF-438E-BB66-C6FF17F27D32}"/>
                  </a:ext>
                </a:extLst>
              </p:cNvPr>
              <p:cNvGrpSpPr/>
              <p:nvPr/>
            </p:nvGrpSpPr>
            <p:grpSpPr>
              <a:xfrm rot="18629624">
                <a:off x="9970399" y="4330876"/>
                <a:ext cx="23989" cy="23990"/>
                <a:chOff x="1411369" y="3109610"/>
                <a:chExt cx="182868" cy="191529"/>
              </a:xfrm>
            </p:grpSpPr>
            <p:cxnSp>
              <p:nvCxnSpPr>
                <p:cNvPr id="158" name="Line 2">
                  <a:extLst>
                    <a:ext uri="{FF2B5EF4-FFF2-40B4-BE49-F238E27FC236}">
                      <a16:creationId xmlns:a16="http://schemas.microsoft.com/office/drawing/2014/main" id="{C9977937-3B63-43D5-902D-1C1036BAB76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85858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" name="Line 1">
                  <a:extLst>
                    <a:ext uri="{FF2B5EF4-FFF2-40B4-BE49-F238E27FC236}">
                      <a16:creationId xmlns:a16="http://schemas.microsoft.com/office/drawing/2014/main" id="{7A1C78AB-F25D-4EE4-AF6C-2EFE71B713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85858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83" name="Microsoft Logo">
              <a:extLst>
                <a:ext uri="{FF2B5EF4-FFF2-40B4-BE49-F238E27FC236}">
                  <a16:creationId xmlns:a16="http://schemas.microsoft.com/office/drawing/2014/main" id="{4ABDBE84-6A66-4148-BD5F-0E78E0A87B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254540" y="2544923"/>
              <a:ext cx="421697" cy="85793"/>
              <a:chOff x="5254540" y="2544923"/>
              <a:chExt cx="421697" cy="85793"/>
            </a:xfrm>
          </p:grpSpPr>
          <p:grpSp>
            <p:nvGrpSpPr>
              <p:cNvPr id="229" name="Microsoft Logo Placeholder">
                <a:extLst>
                  <a:ext uri="{FF2B5EF4-FFF2-40B4-BE49-F238E27FC236}">
                    <a16:creationId xmlns:a16="http://schemas.microsoft.com/office/drawing/2014/main" id="{24FEBDFD-D872-4E94-BA8B-CC004D6B0128}"/>
                  </a:ext>
                </a:extLst>
              </p:cNvPr>
              <p:cNvGrpSpPr/>
              <p:nvPr/>
            </p:nvGrpSpPr>
            <p:grpSpPr>
              <a:xfrm>
                <a:off x="5254540" y="2548929"/>
                <a:ext cx="81411" cy="79956"/>
                <a:chOff x="1950533" y="1912092"/>
                <a:chExt cx="144420" cy="141838"/>
              </a:xfrm>
            </p:grpSpPr>
            <p:sp>
              <p:nvSpPr>
                <p:cNvPr id="230" name="Square">
                  <a:extLst>
                    <a:ext uri="{FF2B5EF4-FFF2-40B4-BE49-F238E27FC236}">
                      <a16:creationId xmlns:a16="http://schemas.microsoft.com/office/drawing/2014/main" id="{8608E210-DCB0-4E2F-98D0-D4E895D247E6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31" name="Line 2">
                  <a:extLst>
                    <a:ext uri="{FF2B5EF4-FFF2-40B4-BE49-F238E27FC236}">
                      <a16:creationId xmlns:a16="http://schemas.microsoft.com/office/drawing/2014/main" id="{686CEC01-D58B-4C3D-B26E-84942D49FB57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" name="Line 1">
                  <a:extLst>
                    <a:ext uri="{FF2B5EF4-FFF2-40B4-BE49-F238E27FC236}">
                      <a16:creationId xmlns:a16="http://schemas.microsoft.com/office/drawing/2014/main" id="{1B63B532-7B11-4250-B2AE-46087343FDE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33" name="Microsoft Text">
                <a:extLst>
                  <a:ext uri="{FF2B5EF4-FFF2-40B4-BE49-F238E27FC236}">
                    <a16:creationId xmlns:a16="http://schemas.microsoft.com/office/drawing/2014/main" id="{BDFC0A07-86B1-4DD6-80B9-A34EFA531489}"/>
                  </a:ext>
                </a:extLst>
              </p:cNvPr>
              <p:cNvSpPr txBox="1"/>
              <p:nvPr/>
            </p:nvSpPr>
            <p:spPr>
              <a:xfrm>
                <a:off x="5355075" y="2544923"/>
                <a:ext cx="321162" cy="857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550" dirty="0">
                    <a:solidFill>
                      <a:srgbClr val="676767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</a:t>
                </a:r>
              </a:p>
            </p:txBody>
          </p:sp>
        </p:grpSp>
        <p:grpSp>
          <p:nvGrpSpPr>
            <p:cNvPr id="241" name="Search Icon">
              <a:extLst>
                <a:ext uri="{FF2B5EF4-FFF2-40B4-BE49-F238E27FC236}">
                  <a16:creationId xmlns:a16="http://schemas.microsoft.com/office/drawing/2014/main" id="{7A9025C9-F127-4B39-9152-BBCA61F97E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562129" y="2567893"/>
              <a:ext cx="50456" cy="47204"/>
              <a:chOff x="1450680" y="1960836"/>
              <a:chExt cx="92153" cy="86215"/>
            </a:xfrm>
          </p:grpSpPr>
          <p:sp>
            <p:nvSpPr>
              <p:cNvPr id="242" name="Circle">
                <a:extLst>
                  <a:ext uri="{FF2B5EF4-FFF2-40B4-BE49-F238E27FC236}">
                    <a16:creationId xmlns:a16="http://schemas.microsoft.com/office/drawing/2014/main" id="{9DA7B067-1B7C-4AC1-8F88-1E147B8A1B01}"/>
                  </a:ext>
                </a:extLst>
              </p:cNvPr>
              <p:cNvSpPr/>
              <p:nvPr/>
            </p:nvSpPr>
            <p:spPr>
              <a:xfrm>
                <a:off x="1490446" y="1960836"/>
                <a:ext cx="52387" cy="54864"/>
              </a:xfrm>
              <a:custGeom>
                <a:avLst/>
                <a:gdLst>
                  <a:gd name="connsiteX0" fmla="*/ 0 w 52387"/>
                  <a:gd name="connsiteY0" fmla="*/ 27432 h 54864"/>
                  <a:gd name="connsiteX1" fmla="*/ 26194 w 52387"/>
                  <a:gd name="connsiteY1" fmla="*/ 0 h 54864"/>
                  <a:gd name="connsiteX2" fmla="*/ 52388 w 52387"/>
                  <a:gd name="connsiteY2" fmla="*/ 27432 h 54864"/>
                  <a:gd name="connsiteX3" fmla="*/ 26194 w 52387"/>
                  <a:gd name="connsiteY3" fmla="*/ 54864 h 54864"/>
                  <a:gd name="connsiteX4" fmla="*/ 0 w 52387"/>
                  <a:gd name="connsiteY4" fmla="*/ 27432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87" h="54864" fill="none" extrusionOk="0">
                    <a:moveTo>
                      <a:pt x="0" y="27432"/>
                    </a:moveTo>
                    <a:cubicBezTo>
                      <a:pt x="1623" y="12475"/>
                      <a:pt x="12451" y="-1489"/>
                      <a:pt x="26194" y="0"/>
                    </a:cubicBezTo>
                    <a:cubicBezTo>
                      <a:pt x="38956" y="-261"/>
                      <a:pt x="50255" y="14290"/>
                      <a:pt x="52388" y="27432"/>
                    </a:cubicBezTo>
                    <a:cubicBezTo>
                      <a:pt x="52337" y="42093"/>
                      <a:pt x="38581" y="57754"/>
                      <a:pt x="26194" y="54864"/>
                    </a:cubicBezTo>
                    <a:cubicBezTo>
                      <a:pt x="13802" y="56026"/>
                      <a:pt x="406" y="42680"/>
                      <a:pt x="0" y="27432"/>
                    </a:cubicBezTo>
                    <a:close/>
                  </a:path>
                  <a:path w="52387" h="54864" stroke="0" extrusionOk="0">
                    <a:moveTo>
                      <a:pt x="0" y="27432"/>
                    </a:moveTo>
                    <a:cubicBezTo>
                      <a:pt x="-2890" y="10499"/>
                      <a:pt x="10147" y="593"/>
                      <a:pt x="26194" y="0"/>
                    </a:cubicBezTo>
                    <a:cubicBezTo>
                      <a:pt x="42736" y="437"/>
                      <a:pt x="48929" y="12392"/>
                      <a:pt x="52388" y="27432"/>
                    </a:cubicBezTo>
                    <a:cubicBezTo>
                      <a:pt x="50325" y="44597"/>
                      <a:pt x="40499" y="55758"/>
                      <a:pt x="26194" y="54864"/>
                    </a:cubicBezTo>
                    <a:cubicBezTo>
                      <a:pt x="9789" y="53804"/>
                      <a:pt x="2557" y="43804"/>
                      <a:pt x="0" y="27432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tx1">
                    <a:lumMod val="50000"/>
                    <a:lumOff val="50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43" name="Line">
                <a:extLst>
                  <a:ext uri="{FF2B5EF4-FFF2-40B4-BE49-F238E27FC236}">
                    <a16:creationId xmlns:a16="http://schemas.microsoft.com/office/drawing/2014/main" id="{B15E80C3-C488-4DD4-8BDC-7F62895A5207}"/>
                  </a:ext>
                </a:extLst>
              </p:cNvPr>
              <p:cNvCxnSpPr/>
              <p:nvPr/>
            </p:nvCxnSpPr>
            <p:spPr>
              <a:xfrm flipH="1">
                <a:off x="1450680" y="2007104"/>
                <a:ext cx="43554" cy="3994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1" name="Add New Profile Picture">
              <a:extLst>
                <a:ext uri="{FF2B5EF4-FFF2-40B4-BE49-F238E27FC236}">
                  <a16:creationId xmlns:a16="http://schemas.microsoft.com/office/drawing/2014/main" id="{BB159748-C3EA-46E0-B412-31EEF63A2B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123870" y="2538212"/>
              <a:ext cx="97790" cy="97790"/>
              <a:chOff x="10123870" y="2538212"/>
              <a:chExt cx="97790" cy="97790"/>
            </a:xfrm>
          </p:grpSpPr>
          <p:sp>
            <p:nvSpPr>
              <p:cNvPr id="245" name="Circle">
                <a:extLst>
                  <a:ext uri="{FF2B5EF4-FFF2-40B4-BE49-F238E27FC236}">
                    <a16:creationId xmlns:a16="http://schemas.microsoft.com/office/drawing/2014/main" id="{E3F82980-A04A-4F50-8304-E914C722C604}"/>
                  </a:ext>
                </a:extLst>
              </p:cNvPr>
              <p:cNvSpPr/>
              <p:nvPr/>
            </p:nvSpPr>
            <p:spPr>
              <a:xfrm>
                <a:off x="10123870" y="2538212"/>
                <a:ext cx="97790" cy="97790"/>
              </a:xfrm>
              <a:custGeom>
                <a:avLst/>
                <a:gdLst>
                  <a:gd name="connsiteX0" fmla="*/ 0 w 97790"/>
                  <a:gd name="connsiteY0" fmla="*/ 48895 h 97790"/>
                  <a:gd name="connsiteX1" fmla="*/ 48895 w 97790"/>
                  <a:gd name="connsiteY1" fmla="*/ 0 h 97790"/>
                  <a:gd name="connsiteX2" fmla="*/ 97790 w 97790"/>
                  <a:gd name="connsiteY2" fmla="*/ 48895 h 97790"/>
                  <a:gd name="connsiteX3" fmla="*/ 48895 w 97790"/>
                  <a:gd name="connsiteY3" fmla="*/ 97790 h 97790"/>
                  <a:gd name="connsiteX4" fmla="*/ 0 w 97790"/>
                  <a:gd name="connsiteY4" fmla="*/ 48895 h 97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90" h="97790" fill="none" extrusionOk="0">
                    <a:moveTo>
                      <a:pt x="0" y="48895"/>
                    </a:moveTo>
                    <a:cubicBezTo>
                      <a:pt x="882" y="25000"/>
                      <a:pt x="17698" y="-1371"/>
                      <a:pt x="48895" y="0"/>
                    </a:cubicBezTo>
                    <a:cubicBezTo>
                      <a:pt x="78196" y="4506"/>
                      <a:pt x="95724" y="19193"/>
                      <a:pt x="97790" y="48895"/>
                    </a:cubicBezTo>
                    <a:cubicBezTo>
                      <a:pt x="98469" y="73463"/>
                      <a:pt x="77110" y="100495"/>
                      <a:pt x="48895" y="97790"/>
                    </a:cubicBezTo>
                    <a:cubicBezTo>
                      <a:pt x="21125" y="94829"/>
                      <a:pt x="407" y="73710"/>
                      <a:pt x="0" y="48895"/>
                    </a:cubicBezTo>
                    <a:close/>
                  </a:path>
                  <a:path w="97790" h="97790" stroke="0" extrusionOk="0">
                    <a:moveTo>
                      <a:pt x="0" y="48895"/>
                    </a:moveTo>
                    <a:cubicBezTo>
                      <a:pt x="-353" y="16685"/>
                      <a:pt x="23255" y="-4153"/>
                      <a:pt x="48895" y="0"/>
                    </a:cubicBezTo>
                    <a:cubicBezTo>
                      <a:pt x="79513" y="-1195"/>
                      <a:pt x="96488" y="20641"/>
                      <a:pt x="97790" y="48895"/>
                    </a:cubicBezTo>
                    <a:cubicBezTo>
                      <a:pt x="101877" y="72935"/>
                      <a:pt x="74757" y="95846"/>
                      <a:pt x="48895" y="97790"/>
                    </a:cubicBezTo>
                    <a:cubicBezTo>
                      <a:pt x="23962" y="101592"/>
                      <a:pt x="-20" y="79036"/>
                      <a:pt x="0" y="4889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rgbClr val="737373"/>
                </a:solidFill>
                <a:extLst>
                  <a:ext uri="{C807C97D-BFC1-408E-A445-0C87EB9F89A2}">
                    <ask:lineSketchStyleProps xmlns:ask="http://schemas.microsoft.com/office/drawing/2018/sketchyshapes" sd="4121754831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46" name="Add New Profile Picture">
                <a:extLst>
                  <a:ext uri="{FF2B5EF4-FFF2-40B4-BE49-F238E27FC236}">
                    <a16:creationId xmlns:a16="http://schemas.microsoft.com/office/drawing/2014/main" id="{3A78425C-691E-4B67-8124-98407DD550C8}"/>
                  </a:ext>
                </a:extLst>
              </p:cNvPr>
              <p:cNvGrpSpPr/>
              <p:nvPr/>
            </p:nvGrpSpPr>
            <p:grpSpPr>
              <a:xfrm>
                <a:off x="10134459" y="2547547"/>
                <a:ext cx="73210" cy="60972"/>
                <a:chOff x="9251440" y="-1407160"/>
                <a:chExt cx="919926" cy="766149"/>
              </a:xfrm>
            </p:grpSpPr>
            <p:pic>
              <p:nvPicPr>
                <p:cNvPr id="247" name="Person Icon" descr="User">
                  <a:extLst>
                    <a:ext uri="{FF2B5EF4-FFF2-40B4-BE49-F238E27FC236}">
                      <a16:creationId xmlns:a16="http://schemas.microsoft.com/office/drawing/2014/main" id="{F08E380F-7789-4AF8-BE0A-4D01B60C377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rcRect b="17074"/>
                <a:stretch/>
              </p:blipFill>
              <p:spPr>
                <a:xfrm>
                  <a:off x="9251440" y="-1407160"/>
                  <a:ext cx="914400" cy="758269"/>
                </a:xfrm>
                <a:custGeom>
                  <a:avLst/>
                  <a:gdLst>
                    <a:gd name="connsiteX0" fmla="*/ 0 w 914400"/>
                    <a:gd name="connsiteY0" fmla="*/ 0 h 758269"/>
                    <a:gd name="connsiteX1" fmla="*/ 914400 w 914400"/>
                    <a:gd name="connsiteY1" fmla="*/ 0 h 758269"/>
                    <a:gd name="connsiteX2" fmla="*/ 914400 w 914400"/>
                    <a:gd name="connsiteY2" fmla="*/ 758269 h 758269"/>
                    <a:gd name="connsiteX3" fmla="*/ 854392 w 914400"/>
                    <a:gd name="connsiteY3" fmla="*/ 758269 h 758269"/>
                    <a:gd name="connsiteX4" fmla="*/ 876500 w 914400"/>
                    <a:gd name="connsiteY4" fmla="*/ 742484 h 758269"/>
                    <a:gd name="connsiteX5" fmla="*/ 911670 w 914400"/>
                    <a:gd name="connsiteY5" fmla="*/ 652566 h 758269"/>
                    <a:gd name="connsiteX6" fmla="*/ 791593 w 914400"/>
                    <a:gd name="connsiteY6" fmla="*/ 525403 h 758269"/>
                    <a:gd name="connsiteX7" fmla="*/ 671516 w 914400"/>
                    <a:gd name="connsiteY7" fmla="*/ 652566 h 758269"/>
                    <a:gd name="connsiteX8" fmla="*/ 706686 w 914400"/>
                    <a:gd name="connsiteY8" fmla="*/ 742484 h 758269"/>
                    <a:gd name="connsiteX9" fmla="*/ 728794 w 914400"/>
                    <a:gd name="connsiteY9" fmla="*/ 758269 h 758269"/>
                    <a:gd name="connsiteX10" fmla="*/ 0 w 914400"/>
                    <a:gd name="connsiteY10" fmla="*/ 758269 h 758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914400" h="758269">
                      <a:moveTo>
                        <a:pt x="0" y="0"/>
                      </a:moveTo>
                      <a:lnTo>
                        <a:pt x="914400" y="0"/>
                      </a:lnTo>
                      <a:lnTo>
                        <a:pt x="914400" y="758269"/>
                      </a:lnTo>
                      <a:lnTo>
                        <a:pt x="854392" y="758269"/>
                      </a:lnTo>
                      <a:lnTo>
                        <a:pt x="876500" y="742484"/>
                      </a:lnTo>
                      <a:cubicBezTo>
                        <a:pt x="898230" y="719472"/>
                        <a:pt x="911670" y="687681"/>
                        <a:pt x="911670" y="652566"/>
                      </a:cubicBezTo>
                      <a:cubicBezTo>
                        <a:pt x="911670" y="582336"/>
                        <a:pt x="857910" y="525403"/>
                        <a:pt x="791593" y="525403"/>
                      </a:cubicBezTo>
                      <a:cubicBezTo>
                        <a:pt x="725276" y="525403"/>
                        <a:pt x="671516" y="582336"/>
                        <a:pt x="671516" y="652566"/>
                      </a:cubicBezTo>
                      <a:cubicBezTo>
                        <a:pt x="671516" y="687681"/>
                        <a:pt x="684956" y="719472"/>
                        <a:pt x="706686" y="742484"/>
                      </a:cubicBezTo>
                      <a:lnTo>
                        <a:pt x="728794" y="758269"/>
                      </a:lnTo>
                      <a:lnTo>
                        <a:pt x="0" y="758269"/>
                      </a:lnTo>
                      <a:close/>
                    </a:path>
                  </a:pathLst>
                </a:custGeom>
              </p:spPr>
            </p:pic>
            <p:sp>
              <p:nvSpPr>
                <p:cNvPr id="248" name="Add Button">
                  <a:extLst>
                    <a:ext uri="{FF2B5EF4-FFF2-40B4-BE49-F238E27FC236}">
                      <a16:creationId xmlns:a16="http://schemas.microsoft.com/office/drawing/2014/main" id="{D4EBF465-E67B-4851-B618-2A85C1F2536F}"/>
                    </a:ext>
                  </a:extLst>
                </p:cNvPr>
                <p:cNvSpPr/>
                <p:nvPr/>
              </p:nvSpPr>
              <p:spPr>
                <a:xfrm>
                  <a:off x="9916890" y="-895487"/>
                  <a:ext cx="254476" cy="254476"/>
                </a:xfrm>
                <a:prstGeom prst="plus">
                  <a:avLst>
                    <a:gd name="adj" fmla="val 40191"/>
                  </a:avLst>
                </a:prstGeom>
                <a:solidFill>
                  <a:srgbClr val="68686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250" name="Line Separator">
              <a:extLst>
                <a:ext uri="{FF2B5EF4-FFF2-40B4-BE49-F238E27FC236}">
                  <a16:creationId xmlns:a16="http://schemas.microsoft.com/office/drawing/2014/main" id="{13C7CEFF-D66C-416C-8DD1-6120F63BDF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708696" y="2543514"/>
              <a:ext cx="7997" cy="85830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 fill="none" extrusionOk="0">
                  <a:moveTo>
                    <a:pt x="0" y="0"/>
                  </a:moveTo>
                  <a:cubicBezTo>
                    <a:pt x="4791" y="327"/>
                    <a:pt x="6400" y="69"/>
                    <a:pt x="10000" y="0"/>
                  </a:cubicBezTo>
                  <a:cubicBezTo>
                    <a:pt x="9955" y="3464"/>
                    <a:pt x="10081" y="7866"/>
                    <a:pt x="10000" y="10000"/>
                  </a:cubicBezTo>
                  <a:cubicBezTo>
                    <a:pt x="6219" y="9793"/>
                    <a:pt x="4034" y="10351"/>
                    <a:pt x="0" y="10000"/>
                  </a:cubicBezTo>
                  <a:cubicBezTo>
                    <a:pt x="454" y="6185"/>
                    <a:pt x="74" y="2352"/>
                    <a:pt x="0" y="0"/>
                  </a:cubicBezTo>
                  <a:close/>
                </a:path>
                <a:path w="10000" h="10000" stroke="0" extrusionOk="0">
                  <a:moveTo>
                    <a:pt x="0" y="0"/>
                  </a:moveTo>
                  <a:cubicBezTo>
                    <a:pt x="3868" y="-313"/>
                    <a:pt x="7744" y="7"/>
                    <a:pt x="10000" y="0"/>
                  </a:cubicBezTo>
                  <a:cubicBezTo>
                    <a:pt x="10451" y="4945"/>
                    <a:pt x="10100" y="5440"/>
                    <a:pt x="10000" y="10000"/>
                  </a:cubicBezTo>
                  <a:cubicBezTo>
                    <a:pt x="7056" y="10499"/>
                    <a:pt x="4749" y="10060"/>
                    <a:pt x="0" y="10000"/>
                  </a:cubicBezTo>
                  <a:cubicBezTo>
                    <a:pt x="-33" y="7118"/>
                    <a:pt x="-309" y="3157"/>
                    <a:pt x="0" y="0"/>
                  </a:cubicBezTo>
                  <a:close/>
                </a:path>
              </a:pathLst>
            </a:custGeom>
            <a:solidFill>
              <a:srgbClr val="404040"/>
            </a:solidFill>
            <a:ln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79" name="Dropdown Menu Item">
              <a:extLst>
                <a:ext uri="{FF2B5EF4-FFF2-40B4-BE49-F238E27FC236}">
                  <a16:creationId xmlns:a16="http://schemas.microsoft.com/office/drawing/2014/main" id="{6268F70E-1A86-423D-8DA3-F6F132F5709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832959" y="2549534"/>
              <a:ext cx="278364" cy="66111"/>
              <a:chOff x="5832959" y="2549534"/>
              <a:chExt cx="278364" cy="66111"/>
            </a:xfrm>
          </p:grpSpPr>
          <p:sp>
            <p:nvSpPr>
              <p:cNvPr id="223" name="Dropdown Text">
                <a:extLst>
                  <a:ext uri="{FF2B5EF4-FFF2-40B4-BE49-F238E27FC236}">
                    <a16:creationId xmlns:a16="http://schemas.microsoft.com/office/drawing/2014/main" id="{F88B037B-CCB9-48B9-A9BD-B45239F6DF5A}"/>
                  </a:ext>
                </a:extLst>
              </p:cNvPr>
              <p:cNvSpPr txBox="1"/>
              <p:nvPr/>
            </p:nvSpPr>
            <p:spPr>
              <a:xfrm>
                <a:off x="5832959" y="2549534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24" name="Dropdown Menu Item">
                <a:extLst>
                  <a:ext uri="{FF2B5EF4-FFF2-40B4-BE49-F238E27FC236}">
                    <a16:creationId xmlns:a16="http://schemas.microsoft.com/office/drawing/2014/main" id="{A0ECB1AE-78DB-4914-ACE9-905A906080AE}"/>
                  </a:ext>
                </a:extLst>
              </p:cNvPr>
              <p:cNvGrpSpPr/>
              <p:nvPr/>
            </p:nvGrpSpPr>
            <p:grpSpPr>
              <a:xfrm rot="18629624">
                <a:off x="6087310" y="2572684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25" name="Line 2">
                  <a:extLst>
                    <a:ext uri="{FF2B5EF4-FFF2-40B4-BE49-F238E27FC236}">
                      <a16:creationId xmlns:a16="http://schemas.microsoft.com/office/drawing/2014/main" id="{94C6F7CF-36B7-46AB-8CB8-BABA8BF73B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Line 1">
                  <a:extLst>
                    <a:ext uri="{FF2B5EF4-FFF2-40B4-BE49-F238E27FC236}">
                      <a16:creationId xmlns:a16="http://schemas.microsoft.com/office/drawing/2014/main" id="{6A0752C9-88C0-4CDD-B05E-F7E72F80A00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78" name="Dropdown Menu Item">
              <a:extLst>
                <a:ext uri="{FF2B5EF4-FFF2-40B4-BE49-F238E27FC236}">
                  <a16:creationId xmlns:a16="http://schemas.microsoft.com/office/drawing/2014/main" id="{1D7A889B-8F00-4DD3-B056-FB36C0EB8F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195939" y="2549027"/>
              <a:ext cx="278364" cy="66111"/>
              <a:chOff x="6195939" y="2549027"/>
              <a:chExt cx="278364" cy="66111"/>
            </a:xfrm>
          </p:grpSpPr>
          <p:sp>
            <p:nvSpPr>
              <p:cNvPr id="252" name="Dropdown Text">
                <a:extLst>
                  <a:ext uri="{FF2B5EF4-FFF2-40B4-BE49-F238E27FC236}">
                    <a16:creationId xmlns:a16="http://schemas.microsoft.com/office/drawing/2014/main" id="{6DDB9899-C2BB-40AD-BC36-E997B391CC56}"/>
                  </a:ext>
                </a:extLst>
              </p:cNvPr>
              <p:cNvSpPr txBox="1"/>
              <p:nvPr/>
            </p:nvSpPr>
            <p:spPr>
              <a:xfrm>
                <a:off x="6195939" y="2549027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53" name="Dropdown Menu Item">
                <a:extLst>
                  <a:ext uri="{FF2B5EF4-FFF2-40B4-BE49-F238E27FC236}">
                    <a16:creationId xmlns:a16="http://schemas.microsoft.com/office/drawing/2014/main" id="{F23D2F35-0566-443D-8177-E444130D887A}"/>
                  </a:ext>
                </a:extLst>
              </p:cNvPr>
              <p:cNvGrpSpPr/>
              <p:nvPr/>
            </p:nvGrpSpPr>
            <p:grpSpPr>
              <a:xfrm rot="18629624">
                <a:off x="6450290" y="2572177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54" name="Line 2">
                  <a:extLst>
                    <a:ext uri="{FF2B5EF4-FFF2-40B4-BE49-F238E27FC236}">
                      <a16:creationId xmlns:a16="http://schemas.microsoft.com/office/drawing/2014/main" id="{F3DEF45D-480E-45FA-AC3B-85E96E538A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Line 1">
                  <a:extLst>
                    <a:ext uri="{FF2B5EF4-FFF2-40B4-BE49-F238E27FC236}">
                      <a16:creationId xmlns:a16="http://schemas.microsoft.com/office/drawing/2014/main" id="{7B25F18B-CA77-4051-AA28-144FE5E4D55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77" name="Dropdown Menu Item">
              <a:extLst>
                <a:ext uri="{FF2B5EF4-FFF2-40B4-BE49-F238E27FC236}">
                  <a16:creationId xmlns:a16="http://schemas.microsoft.com/office/drawing/2014/main" id="{29BF3B51-23DA-4BCB-B831-A625F683E05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563704" y="2548520"/>
              <a:ext cx="278364" cy="66111"/>
              <a:chOff x="6563704" y="2548520"/>
              <a:chExt cx="278364" cy="66111"/>
            </a:xfrm>
          </p:grpSpPr>
          <p:sp>
            <p:nvSpPr>
              <p:cNvPr id="257" name="Dropdown Text">
                <a:extLst>
                  <a:ext uri="{FF2B5EF4-FFF2-40B4-BE49-F238E27FC236}">
                    <a16:creationId xmlns:a16="http://schemas.microsoft.com/office/drawing/2014/main" id="{5DA516CB-7870-4877-91A3-1CB92B3DA911}"/>
                  </a:ext>
                </a:extLst>
              </p:cNvPr>
              <p:cNvSpPr txBox="1"/>
              <p:nvPr/>
            </p:nvSpPr>
            <p:spPr>
              <a:xfrm>
                <a:off x="6563704" y="2548520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58" name="Dropdown Menu Item">
                <a:extLst>
                  <a:ext uri="{FF2B5EF4-FFF2-40B4-BE49-F238E27FC236}">
                    <a16:creationId xmlns:a16="http://schemas.microsoft.com/office/drawing/2014/main" id="{B92B2EC0-427F-423D-B815-2C9036A09548}"/>
                  </a:ext>
                </a:extLst>
              </p:cNvPr>
              <p:cNvGrpSpPr/>
              <p:nvPr/>
            </p:nvGrpSpPr>
            <p:grpSpPr>
              <a:xfrm rot="18629624">
                <a:off x="6818055" y="2571670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59" name="Line 2">
                  <a:extLst>
                    <a:ext uri="{FF2B5EF4-FFF2-40B4-BE49-F238E27FC236}">
                      <a16:creationId xmlns:a16="http://schemas.microsoft.com/office/drawing/2014/main" id="{6F2C4E21-8724-4EBA-9768-7061736A4CC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" name="Line 1">
                  <a:extLst>
                    <a:ext uri="{FF2B5EF4-FFF2-40B4-BE49-F238E27FC236}">
                      <a16:creationId xmlns:a16="http://schemas.microsoft.com/office/drawing/2014/main" id="{90E9EA5B-163F-4098-8644-F0154B15ED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76" name="Dropdown Menu Item">
              <a:extLst>
                <a:ext uri="{FF2B5EF4-FFF2-40B4-BE49-F238E27FC236}">
                  <a16:creationId xmlns:a16="http://schemas.microsoft.com/office/drawing/2014/main" id="{D6E536AA-6CCB-4948-B765-74E8969DBE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930228" y="2548013"/>
              <a:ext cx="278364" cy="66111"/>
              <a:chOff x="6930228" y="2548013"/>
              <a:chExt cx="278364" cy="66111"/>
            </a:xfrm>
          </p:grpSpPr>
          <p:sp>
            <p:nvSpPr>
              <p:cNvPr id="262" name="Dropdown Text">
                <a:extLst>
                  <a:ext uri="{FF2B5EF4-FFF2-40B4-BE49-F238E27FC236}">
                    <a16:creationId xmlns:a16="http://schemas.microsoft.com/office/drawing/2014/main" id="{8A41E481-1C29-4DCD-ACA4-855100AB229D}"/>
                  </a:ext>
                </a:extLst>
              </p:cNvPr>
              <p:cNvSpPr txBox="1"/>
              <p:nvPr/>
            </p:nvSpPr>
            <p:spPr>
              <a:xfrm>
                <a:off x="6930228" y="2548013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63" name="Dropdown Menu Item">
                <a:extLst>
                  <a:ext uri="{FF2B5EF4-FFF2-40B4-BE49-F238E27FC236}">
                    <a16:creationId xmlns:a16="http://schemas.microsoft.com/office/drawing/2014/main" id="{DDB973B7-150A-4E20-BEF8-0689F1F2932E}"/>
                  </a:ext>
                </a:extLst>
              </p:cNvPr>
              <p:cNvGrpSpPr/>
              <p:nvPr/>
            </p:nvGrpSpPr>
            <p:grpSpPr>
              <a:xfrm rot="18629624">
                <a:off x="7184579" y="2571163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64" name="Line 2">
                  <a:extLst>
                    <a:ext uri="{FF2B5EF4-FFF2-40B4-BE49-F238E27FC236}">
                      <a16:creationId xmlns:a16="http://schemas.microsoft.com/office/drawing/2014/main" id="{FE492CFA-E3D6-4C4D-8064-9096DEAA60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Line 1">
                  <a:extLst>
                    <a:ext uri="{FF2B5EF4-FFF2-40B4-BE49-F238E27FC236}">
                      <a16:creationId xmlns:a16="http://schemas.microsoft.com/office/drawing/2014/main" id="{22CCC962-B52D-4A2B-ADDA-CD98C1FCB5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20" name="Dropdown Menu Item">
              <a:extLst>
                <a:ext uri="{FF2B5EF4-FFF2-40B4-BE49-F238E27FC236}">
                  <a16:creationId xmlns:a16="http://schemas.microsoft.com/office/drawing/2014/main" id="{954171A4-72FF-452B-8E8C-584BC48447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303590" y="2547506"/>
              <a:ext cx="278364" cy="66111"/>
              <a:chOff x="7303590" y="2547506"/>
              <a:chExt cx="278364" cy="66111"/>
            </a:xfrm>
          </p:grpSpPr>
          <p:sp>
            <p:nvSpPr>
              <p:cNvPr id="267" name="Dropdown Text">
                <a:extLst>
                  <a:ext uri="{FF2B5EF4-FFF2-40B4-BE49-F238E27FC236}">
                    <a16:creationId xmlns:a16="http://schemas.microsoft.com/office/drawing/2014/main" id="{295E80E0-0336-4E13-9041-04AF0396A6B1}"/>
                  </a:ext>
                </a:extLst>
              </p:cNvPr>
              <p:cNvSpPr txBox="1"/>
              <p:nvPr/>
            </p:nvSpPr>
            <p:spPr>
              <a:xfrm>
                <a:off x="7303590" y="2547506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68" name="Dropdown Menu Item">
                <a:extLst>
                  <a:ext uri="{FF2B5EF4-FFF2-40B4-BE49-F238E27FC236}">
                    <a16:creationId xmlns:a16="http://schemas.microsoft.com/office/drawing/2014/main" id="{99BE446F-3ECD-4942-A313-0884862E7D6B}"/>
                  </a:ext>
                </a:extLst>
              </p:cNvPr>
              <p:cNvGrpSpPr/>
              <p:nvPr/>
            </p:nvGrpSpPr>
            <p:grpSpPr>
              <a:xfrm rot="18629624">
                <a:off x="7557941" y="2570656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69" name="Line 2">
                  <a:extLst>
                    <a:ext uri="{FF2B5EF4-FFF2-40B4-BE49-F238E27FC236}">
                      <a16:creationId xmlns:a16="http://schemas.microsoft.com/office/drawing/2014/main" id="{4505C21C-C235-4BBF-840B-532BBEB34BE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0" name="Line 1">
                  <a:extLst>
                    <a:ext uri="{FF2B5EF4-FFF2-40B4-BE49-F238E27FC236}">
                      <a16:creationId xmlns:a16="http://schemas.microsoft.com/office/drawing/2014/main" id="{8105335E-1519-4FD4-843B-5020EA4BB77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17" name="Dropdown Menu Item">
              <a:extLst>
                <a:ext uri="{FF2B5EF4-FFF2-40B4-BE49-F238E27FC236}">
                  <a16:creationId xmlns:a16="http://schemas.microsoft.com/office/drawing/2014/main" id="{E6366F63-D711-488D-A672-586D91961B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676332" y="2546998"/>
              <a:ext cx="278364" cy="66111"/>
              <a:chOff x="7676332" y="2546998"/>
              <a:chExt cx="278364" cy="66111"/>
            </a:xfrm>
          </p:grpSpPr>
          <p:sp>
            <p:nvSpPr>
              <p:cNvPr id="272" name="Dropdown Text">
                <a:extLst>
                  <a:ext uri="{FF2B5EF4-FFF2-40B4-BE49-F238E27FC236}">
                    <a16:creationId xmlns:a16="http://schemas.microsoft.com/office/drawing/2014/main" id="{A264B4FC-40CA-4D48-A082-E85D35850FA2}"/>
                  </a:ext>
                </a:extLst>
              </p:cNvPr>
              <p:cNvSpPr txBox="1"/>
              <p:nvPr/>
            </p:nvSpPr>
            <p:spPr>
              <a:xfrm>
                <a:off x="7676332" y="2546998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73" name="Dropdown Menu Item">
                <a:extLst>
                  <a:ext uri="{FF2B5EF4-FFF2-40B4-BE49-F238E27FC236}">
                    <a16:creationId xmlns:a16="http://schemas.microsoft.com/office/drawing/2014/main" id="{4CD60FD3-772A-4981-8062-D2894AC562F1}"/>
                  </a:ext>
                </a:extLst>
              </p:cNvPr>
              <p:cNvGrpSpPr/>
              <p:nvPr/>
            </p:nvGrpSpPr>
            <p:grpSpPr>
              <a:xfrm rot="18629624">
                <a:off x="7930683" y="2570148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74" name="Line 2">
                  <a:extLst>
                    <a:ext uri="{FF2B5EF4-FFF2-40B4-BE49-F238E27FC236}">
                      <a16:creationId xmlns:a16="http://schemas.microsoft.com/office/drawing/2014/main" id="{E440B8C9-E2C5-4F35-9DC5-C652C07B73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Line 1">
                  <a:extLst>
                    <a:ext uri="{FF2B5EF4-FFF2-40B4-BE49-F238E27FC236}">
                      <a16:creationId xmlns:a16="http://schemas.microsoft.com/office/drawing/2014/main" id="{054B2504-CDC0-4569-83B8-78F57CC27EC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82" name="Sign In Text">
              <a:extLst>
                <a:ext uri="{FF2B5EF4-FFF2-40B4-BE49-F238E27FC236}">
                  <a16:creationId xmlns:a16="http://schemas.microsoft.com/office/drawing/2014/main" id="{E7640FD9-E709-4513-A4BB-B0886FD8BFCB}"/>
                </a:ext>
              </a:extLst>
            </p:cNvPr>
            <p:cNvSpPr txBox="1"/>
            <p:nvPr/>
          </p:nvSpPr>
          <p:spPr>
            <a:xfrm>
              <a:off x="9937682" y="2554436"/>
              <a:ext cx="161106" cy="66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</a:pPr>
              <a:r>
                <a:rPr lang="en-US" sz="400" dirty="0">
                  <a:solidFill>
                    <a:srgbClr val="636363"/>
                  </a:solidFill>
                </a:rPr>
                <a:t>Sign In</a:t>
              </a:r>
            </a:p>
          </p:txBody>
        </p:sp>
        <p:grpSp>
          <p:nvGrpSpPr>
            <p:cNvPr id="280" name="Cart Icon Placeholder">
              <a:extLst>
                <a:ext uri="{FF2B5EF4-FFF2-40B4-BE49-F238E27FC236}">
                  <a16:creationId xmlns:a16="http://schemas.microsoft.com/office/drawing/2014/main" id="{53BD1478-A940-40DE-8A6D-5691FAB1BB1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700111" y="2554051"/>
              <a:ext cx="179662" cy="66924"/>
              <a:chOff x="9700111" y="2554051"/>
              <a:chExt cx="179662" cy="66924"/>
            </a:xfrm>
          </p:grpSpPr>
          <p:pic>
            <p:nvPicPr>
              <p:cNvPr id="249" name="Cart Icon" descr="Shopping cart">
                <a:extLst>
                  <a:ext uri="{FF2B5EF4-FFF2-40B4-BE49-F238E27FC236}">
                    <a16:creationId xmlns:a16="http://schemas.microsoft.com/office/drawing/2014/main" id="{D02A30DA-7B7E-40DE-A86A-B620EB478E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9817249" y="2558451"/>
                <a:ext cx="62524" cy="62524"/>
              </a:xfrm>
              <a:prstGeom prst="rect">
                <a:avLst/>
              </a:prstGeom>
            </p:spPr>
          </p:pic>
          <p:sp>
            <p:nvSpPr>
              <p:cNvPr id="286" name="Cart Text">
                <a:extLst>
                  <a:ext uri="{FF2B5EF4-FFF2-40B4-BE49-F238E27FC236}">
                    <a16:creationId xmlns:a16="http://schemas.microsoft.com/office/drawing/2014/main" id="{50B19B96-CA22-4EE1-9BC7-C2D20331D987}"/>
                  </a:ext>
                </a:extLst>
              </p:cNvPr>
              <p:cNvSpPr txBox="1"/>
              <p:nvPr/>
            </p:nvSpPr>
            <p:spPr>
              <a:xfrm>
                <a:off x="9700111" y="2554051"/>
                <a:ext cx="96256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636363"/>
                    </a:solidFill>
                  </a:rPr>
                  <a:t>Cart</a:t>
                </a:r>
              </a:p>
            </p:txBody>
          </p:sp>
        </p:grpSp>
        <p:sp>
          <p:nvSpPr>
            <p:cNvPr id="287" name="Search Text">
              <a:extLst>
                <a:ext uri="{FF2B5EF4-FFF2-40B4-BE49-F238E27FC236}">
                  <a16:creationId xmlns:a16="http://schemas.microsoft.com/office/drawing/2014/main" id="{D18F2A41-2E1D-4987-992E-D9148303ED85}"/>
                </a:ext>
              </a:extLst>
            </p:cNvPr>
            <p:cNvSpPr txBox="1"/>
            <p:nvPr/>
          </p:nvSpPr>
          <p:spPr>
            <a:xfrm>
              <a:off x="9379369" y="2553667"/>
              <a:ext cx="161106" cy="66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</a:pPr>
              <a:r>
                <a:rPr lang="en-US" sz="400" dirty="0">
                  <a:solidFill>
                    <a:srgbClr val="636363"/>
                  </a:solidFill>
                </a:rPr>
                <a:t>Search</a:t>
              </a:r>
            </a:p>
          </p:txBody>
        </p:sp>
        <p:grpSp>
          <p:nvGrpSpPr>
            <p:cNvPr id="214" name="Dropdown Menu Item">
              <a:extLst>
                <a:ext uri="{FF2B5EF4-FFF2-40B4-BE49-F238E27FC236}">
                  <a16:creationId xmlns:a16="http://schemas.microsoft.com/office/drawing/2014/main" id="{86AB4587-2E37-4AF6-A07C-74AECA5D4E3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8947384" y="2556595"/>
              <a:ext cx="348155" cy="66111"/>
              <a:chOff x="8947384" y="2556595"/>
              <a:chExt cx="348155" cy="66111"/>
            </a:xfrm>
          </p:grpSpPr>
          <p:sp>
            <p:nvSpPr>
              <p:cNvPr id="289" name="Dropdown Text">
                <a:extLst>
                  <a:ext uri="{FF2B5EF4-FFF2-40B4-BE49-F238E27FC236}">
                    <a16:creationId xmlns:a16="http://schemas.microsoft.com/office/drawing/2014/main" id="{42E769D3-96E3-4ED0-8C33-7C65F482F7D6}"/>
                  </a:ext>
                </a:extLst>
              </p:cNvPr>
              <p:cNvSpPr txBox="1"/>
              <p:nvPr/>
            </p:nvSpPr>
            <p:spPr>
              <a:xfrm>
                <a:off x="8947384" y="2556595"/>
                <a:ext cx="301122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636363"/>
                    </a:solidFill>
                  </a:rPr>
                  <a:t>Dropdown</a:t>
                </a:r>
              </a:p>
            </p:txBody>
          </p:sp>
          <p:grpSp>
            <p:nvGrpSpPr>
              <p:cNvPr id="290" name="Dropdown Icon">
                <a:extLst>
                  <a:ext uri="{FF2B5EF4-FFF2-40B4-BE49-F238E27FC236}">
                    <a16:creationId xmlns:a16="http://schemas.microsoft.com/office/drawing/2014/main" id="{4C7E9CBF-B716-40A7-AEF8-B4FA808BF6F7}"/>
                  </a:ext>
                </a:extLst>
              </p:cNvPr>
              <p:cNvGrpSpPr/>
              <p:nvPr/>
            </p:nvGrpSpPr>
            <p:grpSpPr>
              <a:xfrm rot="18629624">
                <a:off x="9271549" y="2579739"/>
                <a:ext cx="23989" cy="23990"/>
                <a:chOff x="1411369" y="3109610"/>
                <a:chExt cx="182868" cy="191529"/>
              </a:xfrm>
            </p:grpSpPr>
            <p:cxnSp>
              <p:nvCxnSpPr>
                <p:cNvPr id="291" name="Line 2">
                  <a:extLst>
                    <a:ext uri="{FF2B5EF4-FFF2-40B4-BE49-F238E27FC236}">
                      <a16:creationId xmlns:a16="http://schemas.microsoft.com/office/drawing/2014/main" id="{6F9B6FCA-14BD-4E66-8A13-71151FE49E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85858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" name="Line 1">
                  <a:extLst>
                    <a:ext uri="{FF2B5EF4-FFF2-40B4-BE49-F238E27FC236}">
                      <a16:creationId xmlns:a16="http://schemas.microsoft.com/office/drawing/2014/main" id="{5FABD9DC-73F6-435F-AA19-E72B96D5F69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85858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33" name="Xbox Games Catalog Text">
              <a:extLst>
                <a:ext uri="{FF2B5EF4-FFF2-40B4-BE49-F238E27FC236}">
                  <a16:creationId xmlns:a16="http://schemas.microsoft.com/office/drawing/2014/main" id="{6AAEA79D-0F3F-43CA-BC62-4C592052E4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950018" y="2682011"/>
              <a:ext cx="2980138" cy="924028"/>
              <a:chOff x="4950018" y="2682011"/>
              <a:chExt cx="2980138" cy="924028"/>
            </a:xfrm>
          </p:grpSpPr>
          <p:sp>
            <p:nvSpPr>
              <p:cNvPr id="152" name="Rectangle">
                <a:extLst>
                  <a:ext uri="{FF2B5EF4-FFF2-40B4-BE49-F238E27FC236}">
                    <a16:creationId xmlns:a16="http://schemas.microsoft.com/office/drawing/2014/main" id="{C6F3BD50-B52C-4DCB-BE27-FBE2402A25A3}"/>
                  </a:ext>
                </a:extLst>
              </p:cNvPr>
              <p:cNvSpPr/>
              <p:nvPr/>
            </p:nvSpPr>
            <p:spPr>
              <a:xfrm>
                <a:off x="4950018" y="2682011"/>
                <a:ext cx="2980138" cy="924028"/>
              </a:xfrm>
              <a:custGeom>
                <a:avLst/>
                <a:gdLst>
                  <a:gd name="connsiteX0" fmla="*/ 0 w 2980138"/>
                  <a:gd name="connsiteY0" fmla="*/ 0 h 924028"/>
                  <a:gd name="connsiteX1" fmla="*/ 655630 w 2980138"/>
                  <a:gd name="connsiteY1" fmla="*/ 0 h 924028"/>
                  <a:gd name="connsiteX2" fmla="*/ 1281459 w 2980138"/>
                  <a:gd name="connsiteY2" fmla="*/ 0 h 924028"/>
                  <a:gd name="connsiteX3" fmla="*/ 1907288 w 2980138"/>
                  <a:gd name="connsiteY3" fmla="*/ 0 h 924028"/>
                  <a:gd name="connsiteX4" fmla="*/ 2413912 w 2980138"/>
                  <a:gd name="connsiteY4" fmla="*/ 0 h 924028"/>
                  <a:gd name="connsiteX5" fmla="*/ 2980138 w 2980138"/>
                  <a:gd name="connsiteY5" fmla="*/ 0 h 924028"/>
                  <a:gd name="connsiteX6" fmla="*/ 2980138 w 2980138"/>
                  <a:gd name="connsiteY6" fmla="*/ 471254 h 924028"/>
                  <a:gd name="connsiteX7" fmla="*/ 2980138 w 2980138"/>
                  <a:gd name="connsiteY7" fmla="*/ 924028 h 924028"/>
                  <a:gd name="connsiteX8" fmla="*/ 2384110 w 2980138"/>
                  <a:gd name="connsiteY8" fmla="*/ 924028 h 924028"/>
                  <a:gd name="connsiteX9" fmla="*/ 1877487 w 2980138"/>
                  <a:gd name="connsiteY9" fmla="*/ 924028 h 924028"/>
                  <a:gd name="connsiteX10" fmla="*/ 1370863 w 2980138"/>
                  <a:gd name="connsiteY10" fmla="*/ 924028 h 924028"/>
                  <a:gd name="connsiteX11" fmla="*/ 745035 w 2980138"/>
                  <a:gd name="connsiteY11" fmla="*/ 924028 h 924028"/>
                  <a:gd name="connsiteX12" fmla="*/ 0 w 2980138"/>
                  <a:gd name="connsiteY12" fmla="*/ 924028 h 924028"/>
                  <a:gd name="connsiteX13" fmla="*/ 0 w 2980138"/>
                  <a:gd name="connsiteY13" fmla="*/ 443533 h 924028"/>
                  <a:gd name="connsiteX14" fmla="*/ 0 w 2980138"/>
                  <a:gd name="connsiteY14" fmla="*/ 0 h 92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980138" h="924028" fill="none" extrusionOk="0">
                    <a:moveTo>
                      <a:pt x="0" y="0"/>
                    </a:moveTo>
                    <a:cubicBezTo>
                      <a:pt x="152695" y="2249"/>
                      <a:pt x="330548" y="-9156"/>
                      <a:pt x="655630" y="0"/>
                    </a:cubicBezTo>
                    <a:cubicBezTo>
                      <a:pt x="980712" y="9156"/>
                      <a:pt x="1042644" y="-19363"/>
                      <a:pt x="1281459" y="0"/>
                    </a:cubicBezTo>
                    <a:cubicBezTo>
                      <a:pt x="1520274" y="19363"/>
                      <a:pt x="1733188" y="-8568"/>
                      <a:pt x="1907288" y="0"/>
                    </a:cubicBezTo>
                    <a:cubicBezTo>
                      <a:pt x="2081388" y="8568"/>
                      <a:pt x="2225732" y="23687"/>
                      <a:pt x="2413912" y="0"/>
                    </a:cubicBezTo>
                    <a:cubicBezTo>
                      <a:pt x="2602092" y="-23687"/>
                      <a:pt x="2801526" y="-24750"/>
                      <a:pt x="2980138" y="0"/>
                    </a:cubicBezTo>
                    <a:cubicBezTo>
                      <a:pt x="3002973" y="122057"/>
                      <a:pt x="2987578" y="280084"/>
                      <a:pt x="2980138" y="471254"/>
                    </a:cubicBezTo>
                    <a:cubicBezTo>
                      <a:pt x="2972698" y="662424"/>
                      <a:pt x="2972410" y="777795"/>
                      <a:pt x="2980138" y="924028"/>
                    </a:cubicBezTo>
                    <a:cubicBezTo>
                      <a:pt x="2857173" y="909599"/>
                      <a:pt x="2532980" y="919811"/>
                      <a:pt x="2384110" y="924028"/>
                    </a:cubicBezTo>
                    <a:cubicBezTo>
                      <a:pt x="2235240" y="928245"/>
                      <a:pt x="2108984" y="944688"/>
                      <a:pt x="1877487" y="924028"/>
                    </a:cubicBezTo>
                    <a:cubicBezTo>
                      <a:pt x="1645990" y="903368"/>
                      <a:pt x="1577648" y="902191"/>
                      <a:pt x="1370863" y="924028"/>
                    </a:cubicBezTo>
                    <a:cubicBezTo>
                      <a:pt x="1164078" y="945865"/>
                      <a:pt x="908678" y="923695"/>
                      <a:pt x="745035" y="924028"/>
                    </a:cubicBezTo>
                    <a:cubicBezTo>
                      <a:pt x="581392" y="924361"/>
                      <a:pt x="202936" y="917427"/>
                      <a:pt x="0" y="924028"/>
                    </a:cubicBezTo>
                    <a:cubicBezTo>
                      <a:pt x="22740" y="799581"/>
                      <a:pt x="16848" y="600476"/>
                      <a:pt x="0" y="443533"/>
                    </a:cubicBezTo>
                    <a:cubicBezTo>
                      <a:pt x="-16848" y="286591"/>
                      <a:pt x="-11367" y="184933"/>
                      <a:pt x="0" y="0"/>
                    </a:cubicBezTo>
                    <a:close/>
                  </a:path>
                  <a:path w="2980138" h="924028" stroke="0" extrusionOk="0">
                    <a:moveTo>
                      <a:pt x="0" y="0"/>
                    </a:moveTo>
                    <a:cubicBezTo>
                      <a:pt x="175554" y="-28191"/>
                      <a:pt x="289067" y="-22642"/>
                      <a:pt x="566226" y="0"/>
                    </a:cubicBezTo>
                    <a:cubicBezTo>
                      <a:pt x="843385" y="22642"/>
                      <a:pt x="963577" y="-6209"/>
                      <a:pt x="1072850" y="0"/>
                    </a:cubicBezTo>
                    <a:cubicBezTo>
                      <a:pt x="1182123" y="6209"/>
                      <a:pt x="1474485" y="9937"/>
                      <a:pt x="1728480" y="0"/>
                    </a:cubicBezTo>
                    <a:cubicBezTo>
                      <a:pt x="1982475" y="-9937"/>
                      <a:pt x="2133365" y="16453"/>
                      <a:pt x="2294706" y="0"/>
                    </a:cubicBezTo>
                    <a:cubicBezTo>
                      <a:pt x="2456047" y="-16453"/>
                      <a:pt x="2647752" y="28437"/>
                      <a:pt x="2980138" y="0"/>
                    </a:cubicBezTo>
                    <a:cubicBezTo>
                      <a:pt x="2960858" y="110471"/>
                      <a:pt x="2999014" y="283549"/>
                      <a:pt x="2980138" y="480495"/>
                    </a:cubicBezTo>
                    <a:cubicBezTo>
                      <a:pt x="2961262" y="677442"/>
                      <a:pt x="2980029" y="706021"/>
                      <a:pt x="2980138" y="924028"/>
                    </a:cubicBezTo>
                    <a:cubicBezTo>
                      <a:pt x="2775404" y="901683"/>
                      <a:pt x="2602389" y="905026"/>
                      <a:pt x="2384110" y="924028"/>
                    </a:cubicBezTo>
                    <a:cubicBezTo>
                      <a:pt x="2165831" y="943030"/>
                      <a:pt x="2031119" y="917702"/>
                      <a:pt x="1877487" y="924028"/>
                    </a:cubicBezTo>
                    <a:cubicBezTo>
                      <a:pt x="1723855" y="930354"/>
                      <a:pt x="1520622" y="936203"/>
                      <a:pt x="1281459" y="924028"/>
                    </a:cubicBezTo>
                    <a:cubicBezTo>
                      <a:pt x="1042296" y="911853"/>
                      <a:pt x="908775" y="952268"/>
                      <a:pt x="685432" y="924028"/>
                    </a:cubicBezTo>
                    <a:cubicBezTo>
                      <a:pt x="462089" y="895788"/>
                      <a:pt x="277542" y="926123"/>
                      <a:pt x="0" y="924028"/>
                    </a:cubicBezTo>
                    <a:cubicBezTo>
                      <a:pt x="-15482" y="754013"/>
                      <a:pt x="6130" y="566031"/>
                      <a:pt x="0" y="443533"/>
                    </a:cubicBezTo>
                    <a:cubicBezTo>
                      <a:pt x="-6130" y="321036"/>
                      <a:pt x="21691" y="166555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solidFill>
                  <a:srgbClr val="00000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4" name="Xbox Games Catalog Subtitle">
                <a:extLst>
                  <a:ext uri="{FF2B5EF4-FFF2-40B4-BE49-F238E27FC236}">
                    <a16:creationId xmlns:a16="http://schemas.microsoft.com/office/drawing/2014/main" id="{129B92DF-3D1B-4331-9951-BD5B65561C49}"/>
                  </a:ext>
                </a:extLst>
              </p:cNvPr>
              <p:cNvSpPr txBox="1"/>
              <p:nvPr/>
            </p:nvSpPr>
            <p:spPr>
              <a:xfrm>
                <a:off x="5306827" y="3206030"/>
                <a:ext cx="1703452" cy="1626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orem ipsum dolor sit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met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,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onsectetur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dipiscing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lit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, sed do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iusmod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tempor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incididunt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ut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abore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.</a:t>
                </a:r>
              </a:p>
            </p:txBody>
          </p:sp>
          <p:sp>
            <p:nvSpPr>
              <p:cNvPr id="293" name="Xbox Games Catalog Title">
                <a:extLst>
                  <a:ext uri="{FF2B5EF4-FFF2-40B4-BE49-F238E27FC236}">
                    <a16:creationId xmlns:a16="http://schemas.microsoft.com/office/drawing/2014/main" id="{AC08EF59-253A-4271-8A40-1D75B8C140BD}"/>
                  </a:ext>
                </a:extLst>
              </p:cNvPr>
              <p:cNvSpPr txBox="1"/>
              <p:nvPr/>
            </p:nvSpPr>
            <p:spPr>
              <a:xfrm>
                <a:off x="5307070" y="2945928"/>
                <a:ext cx="2037539" cy="18840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ontoso Catalog</a:t>
                </a:r>
              </a:p>
            </p:txBody>
          </p:sp>
        </p:grpSp>
        <p:grpSp>
          <p:nvGrpSpPr>
            <p:cNvPr id="336" name="Address Bar Header">
              <a:extLst>
                <a:ext uri="{FF2B5EF4-FFF2-40B4-BE49-F238E27FC236}">
                  <a16:creationId xmlns:a16="http://schemas.microsoft.com/office/drawing/2014/main" id="{7D0790DC-2907-4BC1-8DE5-64060054C3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967877" y="2266350"/>
              <a:ext cx="5627420" cy="244143"/>
              <a:chOff x="4967877" y="2266350"/>
              <a:chExt cx="5627420" cy="244143"/>
            </a:xfrm>
          </p:grpSpPr>
          <p:sp>
            <p:nvSpPr>
              <p:cNvPr id="2" name="Address Bar Header Full Background">
                <a:extLst>
                  <a:ext uri="{FF2B5EF4-FFF2-40B4-BE49-F238E27FC236}">
                    <a16:creationId xmlns:a16="http://schemas.microsoft.com/office/drawing/2014/main" id="{5D6B9BA1-958E-4E4B-A3E4-8E1305069429}"/>
                  </a:ext>
                </a:extLst>
              </p:cNvPr>
              <p:cNvSpPr/>
              <p:nvPr/>
            </p:nvSpPr>
            <p:spPr>
              <a:xfrm>
                <a:off x="4969003" y="2266350"/>
                <a:ext cx="5592857" cy="211612"/>
              </a:xfrm>
              <a:prstGeom prst="rect">
                <a:avLst/>
              </a:prstGeom>
              <a:solidFill>
                <a:srgbClr val="CBC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00" name="See All Tabs Icon">
                <a:extLst>
                  <a:ext uri="{FF2B5EF4-FFF2-40B4-BE49-F238E27FC236}">
                    <a16:creationId xmlns:a16="http://schemas.microsoft.com/office/drawing/2014/main" id="{5E9B1F14-2A3D-49C7-B753-49D1B05CE9A0}"/>
                  </a:ext>
                </a:extLst>
              </p:cNvPr>
              <p:cNvGrpSpPr/>
              <p:nvPr/>
            </p:nvGrpSpPr>
            <p:grpSpPr>
              <a:xfrm>
                <a:off x="5026608" y="2276890"/>
                <a:ext cx="74136" cy="73515"/>
                <a:chOff x="4561159" y="1229706"/>
                <a:chExt cx="107805" cy="106902"/>
              </a:xfrm>
            </p:grpSpPr>
            <p:pic>
              <p:nvPicPr>
                <p:cNvPr id="296" name="Website Icon 2" descr="Browser window">
                  <a:extLst>
                    <a:ext uri="{FF2B5EF4-FFF2-40B4-BE49-F238E27FC236}">
                      <a16:creationId xmlns:a16="http://schemas.microsoft.com/office/drawing/2014/main" id="{EAB99AC6-2F3D-4388-9469-7C4EE60676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61159" y="1229706"/>
                  <a:ext cx="91821" cy="91821"/>
                </a:xfrm>
                <a:prstGeom prst="rect">
                  <a:avLst/>
                </a:prstGeom>
              </p:spPr>
            </p:pic>
            <p:pic>
              <p:nvPicPr>
                <p:cNvPr id="297" name="Website Icon 1" descr="Browser window">
                  <a:extLst>
                    <a:ext uri="{FF2B5EF4-FFF2-40B4-BE49-F238E27FC236}">
                      <a16:creationId xmlns:a16="http://schemas.microsoft.com/office/drawing/2014/main" id="{D8E358C3-557D-40D6-AC72-73ED975568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7143" y="1244787"/>
                  <a:ext cx="91821" cy="91821"/>
                </a:xfrm>
                <a:prstGeom prst="rect">
                  <a:avLst/>
                </a:prstGeom>
              </p:spPr>
            </p:pic>
            <p:sp>
              <p:nvSpPr>
                <p:cNvPr id="299" name="Rectangle">
                  <a:extLst>
                    <a:ext uri="{FF2B5EF4-FFF2-40B4-BE49-F238E27FC236}">
                      <a16:creationId xmlns:a16="http://schemas.microsoft.com/office/drawing/2014/main" id="{EEC6C1A7-3AFD-488A-BAB2-82CE233B18F2}"/>
                    </a:ext>
                  </a:extLst>
                </p:cNvPr>
                <p:cNvSpPr/>
                <p:nvPr/>
              </p:nvSpPr>
              <p:spPr>
                <a:xfrm>
                  <a:off x="4589484" y="1274842"/>
                  <a:ext cx="64008" cy="36576"/>
                </a:xfrm>
                <a:prstGeom prst="rect">
                  <a:avLst/>
                </a:prstGeom>
                <a:solidFill>
                  <a:srgbClr val="CBCB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8" name="Dropdown Arrow">
                <a:extLst>
                  <a:ext uri="{FF2B5EF4-FFF2-40B4-BE49-F238E27FC236}">
                    <a16:creationId xmlns:a16="http://schemas.microsoft.com/office/drawing/2014/main" id="{5FD58304-2C8E-4B51-99C4-71A8E6266542}"/>
                  </a:ext>
                </a:extLst>
              </p:cNvPr>
              <p:cNvGrpSpPr/>
              <p:nvPr/>
            </p:nvGrpSpPr>
            <p:grpSpPr>
              <a:xfrm rot="18531467">
                <a:off x="5924692" y="2300805"/>
                <a:ext cx="31986" cy="31986"/>
                <a:chOff x="1411369" y="3109610"/>
                <a:chExt cx="182868" cy="191529"/>
              </a:xfrm>
            </p:grpSpPr>
            <p:cxnSp>
              <p:nvCxnSpPr>
                <p:cNvPr id="30" name="Line 2">
                  <a:extLst>
                    <a:ext uri="{FF2B5EF4-FFF2-40B4-BE49-F238E27FC236}">
                      <a16:creationId xmlns:a16="http://schemas.microsoft.com/office/drawing/2014/main" id="{7371056D-6829-4DFE-8AD1-FB896667D59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Line 1">
                  <a:extLst>
                    <a:ext uri="{FF2B5EF4-FFF2-40B4-BE49-F238E27FC236}">
                      <a16:creationId xmlns:a16="http://schemas.microsoft.com/office/drawing/2014/main" id="{6FA9E789-E602-4070-B723-9E8B9322260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3" name="Address Bar Header Background">
                <a:extLst>
                  <a:ext uri="{FF2B5EF4-FFF2-40B4-BE49-F238E27FC236}">
                    <a16:creationId xmlns:a16="http://schemas.microsoft.com/office/drawing/2014/main" id="{D4688BE7-512B-45BD-AA60-E069CF4CBF52}"/>
                  </a:ext>
                </a:extLst>
              </p:cNvPr>
              <p:cNvSpPr/>
              <p:nvPr/>
            </p:nvSpPr>
            <p:spPr>
              <a:xfrm>
                <a:off x="4967877" y="2352880"/>
                <a:ext cx="5627420" cy="146768"/>
              </a:xfrm>
              <a:custGeom>
                <a:avLst/>
                <a:gdLst>
                  <a:gd name="connsiteX0" fmla="*/ 0 w 5627420"/>
                  <a:gd name="connsiteY0" fmla="*/ 0 h 146768"/>
                  <a:gd name="connsiteX1" fmla="*/ 512720 w 5627420"/>
                  <a:gd name="connsiteY1" fmla="*/ 0 h 146768"/>
                  <a:gd name="connsiteX2" fmla="*/ 1081715 w 5627420"/>
                  <a:gd name="connsiteY2" fmla="*/ 0 h 146768"/>
                  <a:gd name="connsiteX3" fmla="*/ 1594436 w 5627420"/>
                  <a:gd name="connsiteY3" fmla="*/ 0 h 146768"/>
                  <a:gd name="connsiteX4" fmla="*/ 2275979 w 5627420"/>
                  <a:gd name="connsiteY4" fmla="*/ 0 h 146768"/>
                  <a:gd name="connsiteX5" fmla="*/ 2901248 w 5627420"/>
                  <a:gd name="connsiteY5" fmla="*/ 0 h 146768"/>
                  <a:gd name="connsiteX6" fmla="*/ 3526517 w 5627420"/>
                  <a:gd name="connsiteY6" fmla="*/ 0 h 146768"/>
                  <a:gd name="connsiteX7" fmla="*/ 4264334 w 5627420"/>
                  <a:gd name="connsiteY7" fmla="*/ 0 h 146768"/>
                  <a:gd name="connsiteX8" fmla="*/ 4945877 w 5627420"/>
                  <a:gd name="connsiteY8" fmla="*/ 0 h 146768"/>
                  <a:gd name="connsiteX9" fmla="*/ 5627420 w 5627420"/>
                  <a:gd name="connsiteY9" fmla="*/ 0 h 146768"/>
                  <a:gd name="connsiteX10" fmla="*/ 5627420 w 5627420"/>
                  <a:gd name="connsiteY10" fmla="*/ 146768 h 146768"/>
                  <a:gd name="connsiteX11" fmla="*/ 5170974 w 5627420"/>
                  <a:gd name="connsiteY11" fmla="*/ 146768 h 146768"/>
                  <a:gd name="connsiteX12" fmla="*/ 4658253 w 5627420"/>
                  <a:gd name="connsiteY12" fmla="*/ 146768 h 146768"/>
                  <a:gd name="connsiteX13" fmla="*/ 3976710 w 5627420"/>
                  <a:gd name="connsiteY13" fmla="*/ 146768 h 146768"/>
                  <a:gd name="connsiteX14" fmla="*/ 3238893 w 5627420"/>
                  <a:gd name="connsiteY14" fmla="*/ 146768 h 146768"/>
                  <a:gd name="connsiteX15" fmla="*/ 2669898 w 5627420"/>
                  <a:gd name="connsiteY15" fmla="*/ 146768 h 146768"/>
                  <a:gd name="connsiteX16" fmla="*/ 1932081 w 5627420"/>
                  <a:gd name="connsiteY16" fmla="*/ 146768 h 146768"/>
                  <a:gd name="connsiteX17" fmla="*/ 1419360 w 5627420"/>
                  <a:gd name="connsiteY17" fmla="*/ 146768 h 146768"/>
                  <a:gd name="connsiteX18" fmla="*/ 962914 w 5627420"/>
                  <a:gd name="connsiteY18" fmla="*/ 146768 h 146768"/>
                  <a:gd name="connsiteX19" fmla="*/ 0 w 5627420"/>
                  <a:gd name="connsiteY19" fmla="*/ 146768 h 146768"/>
                  <a:gd name="connsiteX20" fmla="*/ 0 w 5627420"/>
                  <a:gd name="connsiteY20" fmla="*/ 0 h 14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27420" h="146768" fill="none" extrusionOk="0">
                    <a:moveTo>
                      <a:pt x="0" y="0"/>
                    </a:moveTo>
                    <a:cubicBezTo>
                      <a:pt x="249004" y="-1518"/>
                      <a:pt x="369933" y="24895"/>
                      <a:pt x="512720" y="0"/>
                    </a:cubicBezTo>
                    <a:cubicBezTo>
                      <a:pt x="655507" y="-24895"/>
                      <a:pt x="917099" y="-26932"/>
                      <a:pt x="1081715" y="0"/>
                    </a:cubicBezTo>
                    <a:cubicBezTo>
                      <a:pt x="1246332" y="26932"/>
                      <a:pt x="1459231" y="14574"/>
                      <a:pt x="1594436" y="0"/>
                    </a:cubicBezTo>
                    <a:cubicBezTo>
                      <a:pt x="1729641" y="-14574"/>
                      <a:pt x="2019947" y="33269"/>
                      <a:pt x="2275979" y="0"/>
                    </a:cubicBezTo>
                    <a:cubicBezTo>
                      <a:pt x="2532011" y="-33269"/>
                      <a:pt x="2704934" y="-21465"/>
                      <a:pt x="2901248" y="0"/>
                    </a:cubicBezTo>
                    <a:cubicBezTo>
                      <a:pt x="3097562" y="21465"/>
                      <a:pt x="3311969" y="-14914"/>
                      <a:pt x="3526517" y="0"/>
                    </a:cubicBezTo>
                    <a:cubicBezTo>
                      <a:pt x="3741065" y="14914"/>
                      <a:pt x="4103870" y="22641"/>
                      <a:pt x="4264334" y="0"/>
                    </a:cubicBezTo>
                    <a:cubicBezTo>
                      <a:pt x="4424798" y="-22641"/>
                      <a:pt x="4673412" y="27773"/>
                      <a:pt x="4945877" y="0"/>
                    </a:cubicBezTo>
                    <a:cubicBezTo>
                      <a:pt x="5218342" y="-27773"/>
                      <a:pt x="5317845" y="6109"/>
                      <a:pt x="5627420" y="0"/>
                    </a:cubicBezTo>
                    <a:cubicBezTo>
                      <a:pt x="5623180" y="66055"/>
                      <a:pt x="5631525" y="98292"/>
                      <a:pt x="5627420" y="146768"/>
                    </a:cubicBezTo>
                    <a:cubicBezTo>
                      <a:pt x="5424231" y="134960"/>
                      <a:pt x="5370779" y="128768"/>
                      <a:pt x="5170974" y="146768"/>
                    </a:cubicBezTo>
                    <a:cubicBezTo>
                      <a:pt x="4971169" y="164768"/>
                      <a:pt x="4784240" y="141638"/>
                      <a:pt x="4658253" y="146768"/>
                    </a:cubicBezTo>
                    <a:cubicBezTo>
                      <a:pt x="4532266" y="151898"/>
                      <a:pt x="4188252" y="139505"/>
                      <a:pt x="3976710" y="146768"/>
                    </a:cubicBezTo>
                    <a:cubicBezTo>
                      <a:pt x="3765168" y="154031"/>
                      <a:pt x="3388640" y="132812"/>
                      <a:pt x="3238893" y="146768"/>
                    </a:cubicBezTo>
                    <a:cubicBezTo>
                      <a:pt x="3089146" y="160724"/>
                      <a:pt x="2895701" y="162165"/>
                      <a:pt x="2669898" y="146768"/>
                    </a:cubicBezTo>
                    <a:cubicBezTo>
                      <a:pt x="2444096" y="131371"/>
                      <a:pt x="2085787" y="148627"/>
                      <a:pt x="1932081" y="146768"/>
                    </a:cubicBezTo>
                    <a:cubicBezTo>
                      <a:pt x="1778375" y="144909"/>
                      <a:pt x="1647417" y="126622"/>
                      <a:pt x="1419360" y="146768"/>
                    </a:cubicBezTo>
                    <a:cubicBezTo>
                      <a:pt x="1191303" y="166914"/>
                      <a:pt x="1058203" y="136907"/>
                      <a:pt x="962914" y="146768"/>
                    </a:cubicBezTo>
                    <a:cubicBezTo>
                      <a:pt x="867625" y="156629"/>
                      <a:pt x="280791" y="185533"/>
                      <a:pt x="0" y="146768"/>
                    </a:cubicBezTo>
                    <a:cubicBezTo>
                      <a:pt x="-5920" y="97231"/>
                      <a:pt x="-6953" y="33004"/>
                      <a:pt x="0" y="0"/>
                    </a:cubicBezTo>
                    <a:close/>
                  </a:path>
                  <a:path w="5627420" h="146768" stroke="0" extrusionOk="0">
                    <a:moveTo>
                      <a:pt x="0" y="0"/>
                    </a:moveTo>
                    <a:cubicBezTo>
                      <a:pt x="219799" y="22732"/>
                      <a:pt x="399250" y="22392"/>
                      <a:pt x="568995" y="0"/>
                    </a:cubicBezTo>
                    <a:cubicBezTo>
                      <a:pt x="738741" y="-22392"/>
                      <a:pt x="809811" y="-12522"/>
                      <a:pt x="1025441" y="0"/>
                    </a:cubicBezTo>
                    <a:cubicBezTo>
                      <a:pt x="1241071" y="12522"/>
                      <a:pt x="1501468" y="6168"/>
                      <a:pt x="1763258" y="0"/>
                    </a:cubicBezTo>
                    <a:cubicBezTo>
                      <a:pt x="2025048" y="-6168"/>
                      <a:pt x="2147962" y="21157"/>
                      <a:pt x="2332253" y="0"/>
                    </a:cubicBezTo>
                    <a:cubicBezTo>
                      <a:pt x="2516545" y="-21157"/>
                      <a:pt x="2699162" y="-19468"/>
                      <a:pt x="2901248" y="0"/>
                    </a:cubicBezTo>
                    <a:cubicBezTo>
                      <a:pt x="3103334" y="19468"/>
                      <a:pt x="3436627" y="8008"/>
                      <a:pt x="3639065" y="0"/>
                    </a:cubicBezTo>
                    <a:cubicBezTo>
                      <a:pt x="3841503" y="-8008"/>
                      <a:pt x="3900542" y="-13209"/>
                      <a:pt x="4151785" y="0"/>
                    </a:cubicBezTo>
                    <a:cubicBezTo>
                      <a:pt x="4403028" y="13209"/>
                      <a:pt x="4555611" y="-18469"/>
                      <a:pt x="4889603" y="0"/>
                    </a:cubicBezTo>
                    <a:cubicBezTo>
                      <a:pt x="5223595" y="18469"/>
                      <a:pt x="5344184" y="25114"/>
                      <a:pt x="5627420" y="0"/>
                    </a:cubicBezTo>
                    <a:cubicBezTo>
                      <a:pt x="5621987" y="34083"/>
                      <a:pt x="5633571" y="114997"/>
                      <a:pt x="5627420" y="146768"/>
                    </a:cubicBezTo>
                    <a:cubicBezTo>
                      <a:pt x="5485846" y="154451"/>
                      <a:pt x="5129258" y="124247"/>
                      <a:pt x="5002151" y="146768"/>
                    </a:cubicBezTo>
                    <a:cubicBezTo>
                      <a:pt x="4875044" y="169289"/>
                      <a:pt x="4609723" y="139235"/>
                      <a:pt x="4433156" y="146768"/>
                    </a:cubicBezTo>
                    <a:cubicBezTo>
                      <a:pt x="4256589" y="154301"/>
                      <a:pt x="4018811" y="166889"/>
                      <a:pt x="3695339" y="146768"/>
                    </a:cubicBezTo>
                    <a:cubicBezTo>
                      <a:pt x="3371867" y="126647"/>
                      <a:pt x="3151833" y="176136"/>
                      <a:pt x="2957522" y="146768"/>
                    </a:cubicBezTo>
                    <a:cubicBezTo>
                      <a:pt x="2763211" y="117400"/>
                      <a:pt x="2585222" y="168669"/>
                      <a:pt x="2444801" y="146768"/>
                    </a:cubicBezTo>
                    <a:cubicBezTo>
                      <a:pt x="2304380" y="124867"/>
                      <a:pt x="2058163" y="173937"/>
                      <a:pt x="1819532" y="146768"/>
                    </a:cubicBezTo>
                    <a:cubicBezTo>
                      <a:pt x="1580901" y="119599"/>
                      <a:pt x="1244896" y="150463"/>
                      <a:pt x="1081715" y="146768"/>
                    </a:cubicBezTo>
                    <a:cubicBezTo>
                      <a:pt x="918534" y="143073"/>
                      <a:pt x="432362" y="152062"/>
                      <a:pt x="0" y="146768"/>
                    </a:cubicBezTo>
                    <a:cubicBezTo>
                      <a:pt x="-5267" y="109840"/>
                      <a:pt x="-6821" y="65565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Address Bar Background">
                <a:extLst>
                  <a:ext uri="{FF2B5EF4-FFF2-40B4-BE49-F238E27FC236}">
                    <a16:creationId xmlns:a16="http://schemas.microsoft.com/office/drawing/2014/main" id="{73A658F2-C3AF-45C5-A1B9-32BCAD4CAEFD}"/>
                  </a:ext>
                </a:extLst>
              </p:cNvPr>
              <p:cNvSpPr/>
              <p:nvPr/>
            </p:nvSpPr>
            <p:spPr>
              <a:xfrm>
                <a:off x="5514057" y="2383243"/>
                <a:ext cx="4593820" cy="84902"/>
              </a:xfrm>
              <a:custGeom>
                <a:avLst/>
                <a:gdLst>
                  <a:gd name="connsiteX0" fmla="*/ 0 w 4593820"/>
                  <a:gd name="connsiteY0" fmla="*/ 0 h 84902"/>
                  <a:gd name="connsiteX1" fmla="*/ 610322 w 4593820"/>
                  <a:gd name="connsiteY1" fmla="*/ 0 h 84902"/>
                  <a:gd name="connsiteX2" fmla="*/ 1128767 w 4593820"/>
                  <a:gd name="connsiteY2" fmla="*/ 0 h 84902"/>
                  <a:gd name="connsiteX3" fmla="*/ 1693151 w 4593820"/>
                  <a:gd name="connsiteY3" fmla="*/ 0 h 84902"/>
                  <a:gd name="connsiteX4" fmla="*/ 2395349 w 4593820"/>
                  <a:gd name="connsiteY4" fmla="*/ 0 h 84902"/>
                  <a:gd name="connsiteX5" fmla="*/ 3005671 w 4593820"/>
                  <a:gd name="connsiteY5" fmla="*/ 0 h 84902"/>
                  <a:gd name="connsiteX6" fmla="*/ 3570054 w 4593820"/>
                  <a:gd name="connsiteY6" fmla="*/ 0 h 84902"/>
                  <a:gd name="connsiteX7" fmla="*/ 4593820 w 4593820"/>
                  <a:gd name="connsiteY7" fmla="*/ 0 h 84902"/>
                  <a:gd name="connsiteX8" fmla="*/ 4593820 w 4593820"/>
                  <a:gd name="connsiteY8" fmla="*/ 84902 h 84902"/>
                  <a:gd name="connsiteX9" fmla="*/ 3937560 w 4593820"/>
                  <a:gd name="connsiteY9" fmla="*/ 84902 h 84902"/>
                  <a:gd name="connsiteX10" fmla="*/ 3373176 w 4593820"/>
                  <a:gd name="connsiteY10" fmla="*/ 84902 h 84902"/>
                  <a:gd name="connsiteX11" fmla="*/ 2625040 w 4593820"/>
                  <a:gd name="connsiteY11" fmla="*/ 84902 h 84902"/>
                  <a:gd name="connsiteX12" fmla="*/ 2014718 w 4593820"/>
                  <a:gd name="connsiteY12" fmla="*/ 84902 h 84902"/>
                  <a:gd name="connsiteX13" fmla="*/ 1496273 w 4593820"/>
                  <a:gd name="connsiteY13" fmla="*/ 84902 h 84902"/>
                  <a:gd name="connsiteX14" fmla="*/ 794075 w 4593820"/>
                  <a:gd name="connsiteY14" fmla="*/ 84902 h 84902"/>
                  <a:gd name="connsiteX15" fmla="*/ 0 w 4593820"/>
                  <a:gd name="connsiteY15" fmla="*/ 84902 h 84902"/>
                  <a:gd name="connsiteX16" fmla="*/ 0 w 4593820"/>
                  <a:gd name="connsiteY16" fmla="*/ 0 h 8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93820" h="84902" fill="none" extrusionOk="0">
                    <a:moveTo>
                      <a:pt x="0" y="0"/>
                    </a:moveTo>
                    <a:cubicBezTo>
                      <a:pt x="184146" y="-15199"/>
                      <a:pt x="392840" y="-9586"/>
                      <a:pt x="610322" y="0"/>
                    </a:cubicBezTo>
                    <a:cubicBezTo>
                      <a:pt x="827804" y="9586"/>
                      <a:pt x="877715" y="8006"/>
                      <a:pt x="1128767" y="0"/>
                    </a:cubicBezTo>
                    <a:cubicBezTo>
                      <a:pt x="1379819" y="-8006"/>
                      <a:pt x="1481566" y="-27595"/>
                      <a:pt x="1693151" y="0"/>
                    </a:cubicBezTo>
                    <a:cubicBezTo>
                      <a:pt x="1904736" y="27595"/>
                      <a:pt x="2128721" y="-18005"/>
                      <a:pt x="2395349" y="0"/>
                    </a:cubicBezTo>
                    <a:cubicBezTo>
                      <a:pt x="2661977" y="18005"/>
                      <a:pt x="2745811" y="-11627"/>
                      <a:pt x="3005671" y="0"/>
                    </a:cubicBezTo>
                    <a:cubicBezTo>
                      <a:pt x="3265531" y="11627"/>
                      <a:pt x="3296113" y="17939"/>
                      <a:pt x="3570054" y="0"/>
                    </a:cubicBezTo>
                    <a:cubicBezTo>
                      <a:pt x="3843995" y="-17939"/>
                      <a:pt x="4190444" y="-20063"/>
                      <a:pt x="4593820" y="0"/>
                    </a:cubicBezTo>
                    <a:cubicBezTo>
                      <a:pt x="4593258" y="27104"/>
                      <a:pt x="4593224" y="55244"/>
                      <a:pt x="4593820" y="84902"/>
                    </a:cubicBezTo>
                    <a:cubicBezTo>
                      <a:pt x="4343477" y="110163"/>
                      <a:pt x="4152282" y="66973"/>
                      <a:pt x="3937560" y="84902"/>
                    </a:cubicBezTo>
                    <a:cubicBezTo>
                      <a:pt x="3722838" y="102831"/>
                      <a:pt x="3526748" y="100677"/>
                      <a:pt x="3373176" y="84902"/>
                    </a:cubicBezTo>
                    <a:cubicBezTo>
                      <a:pt x="3219604" y="69127"/>
                      <a:pt x="2936887" y="83060"/>
                      <a:pt x="2625040" y="84902"/>
                    </a:cubicBezTo>
                    <a:cubicBezTo>
                      <a:pt x="2313193" y="86744"/>
                      <a:pt x="2196676" y="90569"/>
                      <a:pt x="2014718" y="84902"/>
                    </a:cubicBezTo>
                    <a:cubicBezTo>
                      <a:pt x="1832760" y="79235"/>
                      <a:pt x="1665481" y="70062"/>
                      <a:pt x="1496273" y="84902"/>
                    </a:cubicBezTo>
                    <a:cubicBezTo>
                      <a:pt x="1327065" y="99742"/>
                      <a:pt x="1136994" y="86637"/>
                      <a:pt x="794075" y="84902"/>
                    </a:cubicBezTo>
                    <a:cubicBezTo>
                      <a:pt x="451156" y="83167"/>
                      <a:pt x="348460" y="48584"/>
                      <a:pt x="0" y="84902"/>
                    </a:cubicBezTo>
                    <a:cubicBezTo>
                      <a:pt x="337" y="52542"/>
                      <a:pt x="582" y="27801"/>
                      <a:pt x="0" y="0"/>
                    </a:cubicBezTo>
                    <a:close/>
                  </a:path>
                  <a:path w="4593820" h="84902" stroke="0" extrusionOk="0">
                    <a:moveTo>
                      <a:pt x="0" y="0"/>
                    </a:moveTo>
                    <a:cubicBezTo>
                      <a:pt x="243663" y="28465"/>
                      <a:pt x="434584" y="-20020"/>
                      <a:pt x="610322" y="0"/>
                    </a:cubicBezTo>
                    <a:cubicBezTo>
                      <a:pt x="786060" y="20020"/>
                      <a:pt x="988612" y="-632"/>
                      <a:pt x="1128767" y="0"/>
                    </a:cubicBezTo>
                    <a:cubicBezTo>
                      <a:pt x="1268922" y="632"/>
                      <a:pt x="1523113" y="26936"/>
                      <a:pt x="1876904" y="0"/>
                    </a:cubicBezTo>
                    <a:cubicBezTo>
                      <a:pt x="2230695" y="-26936"/>
                      <a:pt x="2199136" y="-21321"/>
                      <a:pt x="2487225" y="0"/>
                    </a:cubicBezTo>
                    <a:cubicBezTo>
                      <a:pt x="2775314" y="21321"/>
                      <a:pt x="2851493" y="-14744"/>
                      <a:pt x="3097547" y="0"/>
                    </a:cubicBezTo>
                    <a:cubicBezTo>
                      <a:pt x="3343601" y="14744"/>
                      <a:pt x="3566286" y="-17111"/>
                      <a:pt x="3845684" y="0"/>
                    </a:cubicBezTo>
                    <a:cubicBezTo>
                      <a:pt x="4125082" y="17111"/>
                      <a:pt x="4414169" y="23994"/>
                      <a:pt x="4593820" y="0"/>
                    </a:cubicBezTo>
                    <a:cubicBezTo>
                      <a:pt x="4591812" y="40259"/>
                      <a:pt x="4592030" y="47653"/>
                      <a:pt x="4593820" y="84902"/>
                    </a:cubicBezTo>
                    <a:cubicBezTo>
                      <a:pt x="4347807" y="99919"/>
                      <a:pt x="4303994" y="93382"/>
                      <a:pt x="4029436" y="84902"/>
                    </a:cubicBezTo>
                    <a:cubicBezTo>
                      <a:pt x="3754878" y="76422"/>
                      <a:pt x="3660223" y="76217"/>
                      <a:pt x="3373176" y="84902"/>
                    </a:cubicBezTo>
                    <a:cubicBezTo>
                      <a:pt x="3086129" y="93587"/>
                      <a:pt x="3028669" y="102103"/>
                      <a:pt x="2716916" y="84902"/>
                    </a:cubicBezTo>
                    <a:cubicBezTo>
                      <a:pt x="2405163" y="67701"/>
                      <a:pt x="2405885" y="105789"/>
                      <a:pt x="2106595" y="84902"/>
                    </a:cubicBezTo>
                    <a:cubicBezTo>
                      <a:pt x="1807305" y="64015"/>
                      <a:pt x="1529418" y="90463"/>
                      <a:pt x="1358458" y="84902"/>
                    </a:cubicBezTo>
                    <a:cubicBezTo>
                      <a:pt x="1187498" y="79341"/>
                      <a:pt x="793412" y="68774"/>
                      <a:pt x="610322" y="84902"/>
                    </a:cubicBezTo>
                    <a:cubicBezTo>
                      <a:pt x="427232" y="101030"/>
                      <a:pt x="224841" y="113789"/>
                      <a:pt x="0" y="84902"/>
                    </a:cubicBezTo>
                    <a:cubicBezTo>
                      <a:pt x="1504" y="64811"/>
                      <a:pt x="2191" y="23288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27" name="Right Arrow">
                <a:extLst>
                  <a:ext uri="{FF2B5EF4-FFF2-40B4-BE49-F238E27FC236}">
                    <a16:creationId xmlns:a16="http://schemas.microsoft.com/office/drawing/2014/main" id="{FADC0E2C-F13E-444F-A964-E4E3805FF9B9}"/>
                  </a:ext>
                </a:extLst>
              </p:cNvPr>
              <p:cNvGrpSpPr/>
              <p:nvPr/>
            </p:nvGrpSpPr>
            <p:grpSpPr>
              <a:xfrm>
                <a:off x="5128197" y="2407559"/>
                <a:ext cx="55827" cy="39983"/>
                <a:chOff x="5128197" y="2407559"/>
                <a:chExt cx="55827" cy="39983"/>
              </a:xfrm>
            </p:grpSpPr>
            <p:grpSp>
              <p:nvGrpSpPr>
                <p:cNvPr id="52" name="Right Arrow">
                  <a:extLst>
                    <a:ext uri="{FF2B5EF4-FFF2-40B4-BE49-F238E27FC236}">
                      <a16:creationId xmlns:a16="http://schemas.microsoft.com/office/drawing/2014/main" id="{20078A84-EA77-4840-95D2-D81C4B49AE73}"/>
                    </a:ext>
                  </a:extLst>
                </p:cNvPr>
                <p:cNvGrpSpPr/>
                <p:nvPr/>
              </p:nvGrpSpPr>
              <p:grpSpPr>
                <a:xfrm rot="13370064">
                  <a:off x="5144041" y="2407559"/>
                  <a:ext cx="39983" cy="39983"/>
                  <a:chOff x="1411369" y="3109610"/>
                  <a:chExt cx="182868" cy="191529"/>
                </a:xfrm>
              </p:grpSpPr>
              <p:cxnSp>
                <p:nvCxnSpPr>
                  <p:cNvPr id="54" name="Line 2">
                    <a:extLst>
                      <a:ext uri="{FF2B5EF4-FFF2-40B4-BE49-F238E27FC236}">
                        <a16:creationId xmlns:a16="http://schemas.microsoft.com/office/drawing/2014/main" id="{08909908-AD42-487F-A097-315E5FECA3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" name="Line 1">
                    <a:extLst>
                      <a:ext uri="{FF2B5EF4-FFF2-40B4-BE49-F238E27FC236}">
                        <a16:creationId xmlns:a16="http://schemas.microsoft.com/office/drawing/2014/main" id="{404EBFE0-5FE9-4168-8CD3-41C94439CD2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1" name="Right Arrow">
                  <a:extLst>
                    <a:ext uri="{FF2B5EF4-FFF2-40B4-BE49-F238E27FC236}">
                      <a16:creationId xmlns:a16="http://schemas.microsoft.com/office/drawing/2014/main" id="{C770FD3C-E3D5-45CB-856C-8F66431D996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28197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1" name="Left Arrow">
                <a:extLst>
                  <a:ext uri="{FF2B5EF4-FFF2-40B4-BE49-F238E27FC236}">
                    <a16:creationId xmlns:a16="http://schemas.microsoft.com/office/drawing/2014/main" id="{96AE498E-918B-458A-9748-C0F81BBF6EE6}"/>
                  </a:ext>
                </a:extLst>
              </p:cNvPr>
              <p:cNvGrpSpPr/>
              <p:nvPr/>
            </p:nvGrpSpPr>
            <p:grpSpPr>
              <a:xfrm>
                <a:off x="5004663" y="2407440"/>
                <a:ext cx="56124" cy="39983"/>
                <a:chOff x="5004663" y="2407440"/>
                <a:chExt cx="56124" cy="39983"/>
              </a:xfrm>
            </p:grpSpPr>
            <p:grpSp>
              <p:nvGrpSpPr>
                <p:cNvPr id="58" name="Left Arrow">
                  <a:extLst>
                    <a:ext uri="{FF2B5EF4-FFF2-40B4-BE49-F238E27FC236}">
                      <a16:creationId xmlns:a16="http://schemas.microsoft.com/office/drawing/2014/main" id="{87368155-EE03-4268-9EEA-3580F37920BC}"/>
                    </a:ext>
                  </a:extLst>
                </p:cNvPr>
                <p:cNvGrpSpPr/>
                <p:nvPr/>
              </p:nvGrpSpPr>
              <p:grpSpPr>
                <a:xfrm rot="8229936" flipH="1">
                  <a:off x="5004663" y="2407440"/>
                  <a:ext cx="39983" cy="39983"/>
                  <a:chOff x="1411369" y="3109610"/>
                  <a:chExt cx="182868" cy="191529"/>
                </a:xfrm>
              </p:grpSpPr>
              <p:cxnSp>
                <p:nvCxnSpPr>
                  <p:cNvPr id="59" name="Line 2">
                    <a:extLst>
                      <a:ext uri="{FF2B5EF4-FFF2-40B4-BE49-F238E27FC236}">
                        <a16:creationId xmlns:a16="http://schemas.microsoft.com/office/drawing/2014/main" id="{4363E6E4-C2A2-4A02-8358-A1FB1D8AE64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Line 1">
                    <a:extLst>
                      <a:ext uri="{FF2B5EF4-FFF2-40B4-BE49-F238E27FC236}">
                        <a16:creationId xmlns:a16="http://schemas.microsoft.com/office/drawing/2014/main" id="{C7F89F99-55D3-42EB-8499-A1247281406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2" name="Left Arrow">
                  <a:extLst>
                    <a:ext uri="{FF2B5EF4-FFF2-40B4-BE49-F238E27FC236}">
                      <a16:creationId xmlns:a16="http://schemas.microsoft.com/office/drawing/2014/main" id="{F59DD49B-6CD5-46F9-A4D2-F369B386CD3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2808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63" name="Search Address Bar Icon" descr="Magnifying glass">
                <a:extLst>
                  <a:ext uri="{FF2B5EF4-FFF2-40B4-BE49-F238E27FC236}">
                    <a16:creationId xmlns:a16="http://schemas.microsoft.com/office/drawing/2014/main" id="{67A9775D-2F2C-47ED-A1B1-E0822F0B27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flipH="1">
                <a:off x="5539664" y="2402166"/>
                <a:ext cx="48632" cy="48632"/>
              </a:xfrm>
              <a:prstGeom prst="rect">
                <a:avLst/>
              </a:prstGeom>
            </p:spPr>
          </p:pic>
          <p:sp>
            <p:nvSpPr>
              <p:cNvPr id="64" name="Search Address Bar Text">
                <a:extLst>
                  <a:ext uri="{FF2B5EF4-FFF2-40B4-BE49-F238E27FC236}">
                    <a16:creationId xmlns:a16="http://schemas.microsoft.com/office/drawing/2014/main" id="{8D34F627-EEE2-475E-8814-3EE33B4FD5FB}"/>
                  </a:ext>
                </a:extLst>
              </p:cNvPr>
              <p:cNvSpPr txBox="1"/>
              <p:nvPr/>
            </p:nvSpPr>
            <p:spPr>
              <a:xfrm>
                <a:off x="5529550" y="2361221"/>
                <a:ext cx="1335040" cy="149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70" dirty="0">
                    <a:solidFill>
                      <a:srgbClr val="AEAEAE"/>
                    </a:solidFill>
                  </a:rPr>
                  <a:t>Search or enter web address</a:t>
                </a:r>
              </a:p>
            </p:txBody>
          </p:sp>
          <p:pic>
            <p:nvPicPr>
              <p:cNvPr id="32" name="Refresh Button" descr="Refresh">
                <a:extLst>
                  <a:ext uri="{FF2B5EF4-FFF2-40B4-BE49-F238E27FC236}">
                    <a16:creationId xmlns:a16="http://schemas.microsoft.com/office/drawing/2014/main" id="{5545E9B2-F1A4-4A42-964C-DE20F53B8A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 rot="17611513">
                <a:off x="5247646" y="2397778"/>
                <a:ext cx="59306" cy="59306"/>
              </a:xfrm>
              <a:prstGeom prst="rect">
                <a:avLst/>
              </a:prstGeom>
            </p:spPr>
          </p:pic>
          <p:pic>
            <p:nvPicPr>
              <p:cNvPr id="34" name="Home Button" descr="Home">
                <a:extLst>
                  <a:ext uri="{FF2B5EF4-FFF2-40B4-BE49-F238E27FC236}">
                    <a16:creationId xmlns:a16="http://schemas.microsoft.com/office/drawing/2014/main" id="{F49C9E1E-3129-4F22-BE9E-F6B2CE2B4E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5371550" y="2399299"/>
                <a:ext cx="59306" cy="59306"/>
              </a:xfrm>
              <a:prstGeom prst="rect">
                <a:avLst/>
              </a:prstGeom>
            </p:spPr>
          </p:pic>
          <p:grpSp>
            <p:nvGrpSpPr>
              <p:cNvPr id="13" name="Address Bar Settings Button">
                <a:extLst>
                  <a:ext uri="{FF2B5EF4-FFF2-40B4-BE49-F238E27FC236}">
                    <a16:creationId xmlns:a16="http://schemas.microsoft.com/office/drawing/2014/main" id="{1307BE35-02CB-46DD-B709-F264CBB7E293}"/>
                  </a:ext>
                </a:extLst>
              </p:cNvPr>
              <p:cNvGrpSpPr/>
              <p:nvPr/>
            </p:nvGrpSpPr>
            <p:grpSpPr>
              <a:xfrm>
                <a:off x="10462995" y="2419434"/>
                <a:ext cx="64798" cy="15993"/>
                <a:chOff x="10790691" y="1400190"/>
                <a:chExt cx="74096" cy="18288"/>
              </a:xfrm>
            </p:grpSpPr>
            <p:sp>
              <p:nvSpPr>
                <p:cNvPr id="12" name="Circle">
                  <a:extLst>
                    <a:ext uri="{FF2B5EF4-FFF2-40B4-BE49-F238E27FC236}">
                      <a16:creationId xmlns:a16="http://schemas.microsoft.com/office/drawing/2014/main" id="{A740A62D-3568-40C2-86F4-E6B6983DB35C}"/>
                    </a:ext>
                  </a:extLst>
                </p:cNvPr>
                <p:cNvSpPr/>
                <p:nvPr/>
              </p:nvSpPr>
              <p:spPr>
                <a:xfrm>
                  <a:off x="10846499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Circle">
                  <a:extLst>
                    <a:ext uri="{FF2B5EF4-FFF2-40B4-BE49-F238E27FC236}">
                      <a16:creationId xmlns:a16="http://schemas.microsoft.com/office/drawing/2014/main" id="{2F0BAD91-AD3D-466D-9E57-3A773DB062F0}"/>
                    </a:ext>
                  </a:extLst>
                </p:cNvPr>
                <p:cNvSpPr/>
                <p:nvPr/>
              </p:nvSpPr>
              <p:spPr>
                <a:xfrm>
                  <a:off x="10818595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0" name="Circle">
                  <a:extLst>
                    <a:ext uri="{FF2B5EF4-FFF2-40B4-BE49-F238E27FC236}">
                      <a16:creationId xmlns:a16="http://schemas.microsoft.com/office/drawing/2014/main" id="{6ADF748B-04C3-4BBD-967A-5B1871F515D8}"/>
                    </a:ext>
                  </a:extLst>
                </p:cNvPr>
                <p:cNvSpPr/>
                <p:nvPr/>
              </p:nvSpPr>
              <p:spPr>
                <a:xfrm>
                  <a:off x="10790691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26" name="Add Button">
                <a:extLst>
                  <a:ext uri="{FF2B5EF4-FFF2-40B4-BE49-F238E27FC236}">
                    <a16:creationId xmlns:a16="http://schemas.microsoft.com/office/drawing/2014/main" id="{BD91FE3E-614B-4DF5-9349-B0E18D996BE8}"/>
                  </a:ext>
                </a:extLst>
              </p:cNvPr>
              <p:cNvGrpSpPr/>
              <p:nvPr/>
            </p:nvGrpSpPr>
            <p:grpSpPr>
              <a:xfrm>
                <a:off x="5822685" y="2296671"/>
                <a:ext cx="39983" cy="39983"/>
                <a:chOff x="5822685" y="2296671"/>
                <a:chExt cx="39983" cy="39983"/>
              </a:xfrm>
            </p:grpSpPr>
            <p:cxnSp>
              <p:nvCxnSpPr>
                <p:cNvPr id="65" name="Line 2">
                  <a:extLst>
                    <a:ext uri="{FF2B5EF4-FFF2-40B4-BE49-F238E27FC236}">
                      <a16:creationId xmlns:a16="http://schemas.microsoft.com/office/drawing/2014/main" id="{C25DF936-F983-4769-9F94-EAEF3F2EA4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22685" y="2315861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Line 1">
                  <a:extLst>
                    <a:ext uri="{FF2B5EF4-FFF2-40B4-BE49-F238E27FC236}">
                      <a16:creationId xmlns:a16="http://schemas.microsoft.com/office/drawing/2014/main" id="{CF158BCA-D82B-4CFB-B8FD-DB394E79959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5821643" y="2316663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46" name="Close Button" descr="Close">
                <a:extLst>
                  <a:ext uri="{FF2B5EF4-FFF2-40B4-BE49-F238E27FC236}">
                    <a16:creationId xmlns:a16="http://schemas.microsoft.com/office/drawing/2014/main" id="{82A6540B-5A45-432F-BB49-AC8E8F9BE7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10465079" y="2296563"/>
                <a:ext cx="44638" cy="44638"/>
              </a:xfrm>
              <a:prstGeom prst="rect">
                <a:avLst/>
              </a:prstGeom>
            </p:spPr>
          </p:pic>
          <p:sp>
            <p:nvSpPr>
              <p:cNvPr id="5" name="Maximize Button">
                <a:extLst>
                  <a:ext uri="{FF2B5EF4-FFF2-40B4-BE49-F238E27FC236}">
                    <a16:creationId xmlns:a16="http://schemas.microsoft.com/office/drawing/2014/main" id="{C77E1B50-6CA7-4FD8-A794-15A9989B1B45}"/>
                  </a:ext>
                </a:extLst>
              </p:cNvPr>
              <p:cNvSpPr/>
              <p:nvPr/>
            </p:nvSpPr>
            <p:spPr>
              <a:xfrm>
                <a:off x="10328833" y="2301847"/>
                <a:ext cx="31986" cy="31986"/>
              </a:xfrm>
              <a:prstGeom prst="rect">
                <a:avLst/>
              </a:prstGeom>
              <a:noFill/>
              <a:ln w="6350">
                <a:solidFill>
                  <a:srgbClr val="09090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8" name="Minimize Button">
                <a:extLst>
                  <a:ext uri="{FF2B5EF4-FFF2-40B4-BE49-F238E27FC236}">
                    <a16:creationId xmlns:a16="http://schemas.microsoft.com/office/drawing/2014/main" id="{181EEFDA-47B4-45D9-BB9E-D60922A0F8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0145" y="2316798"/>
                <a:ext cx="31986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Webpage Small Title Background">
                <a:extLst>
                  <a:ext uri="{FF2B5EF4-FFF2-40B4-BE49-F238E27FC236}">
                    <a16:creationId xmlns:a16="http://schemas.microsoft.com/office/drawing/2014/main" id="{06751922-9AB8-448C-B269-212909059B3D}"/>
                  </a:ext>
                </a:extLst>
              </p:cNvPr>
              <p:cNvSpPr/>
              <p:nvPr/>
            </p:nvSpPr>
            <p:spPr>
              <a:xfrm>
                <a:off x="5167332" y="2270515"/>
                <a:ext cx="622646" cy="104134"/>
              </a:xfrm>
              <a:custGeom>
                <a:avLst/>
                <a:gdLst>
                  <a:gd name="connsiteX0" fmla="*/ 0 w 622646"/>
                  <a:gd name="connsiteY0" fmla="*/ 0 h 104134"/>
                  <a:gd name="connsiteX1" fmla="*/ 622646 w 622646"/>
                  <a:gd name="connsiteY1" fmla="*/ 0 h 104134"/>
                  <a:gd name="connsiteX2" fmla="*/ 622646 w 622646"/>
                  <a:gd name="connsiteY2" fmla="*/ 104134 h 104134"/>
                  <a:gd name="connsiteX3" fmla="*/ 0 w 622646"/>
                  <a:gd name="connsiteY3" fmla="*/ 104134 h 104134"/>
                  <a:gd name="connsiteX4" fmla="*/ 0 w 622646"/>
                  <a:gd name="connsiteY4" fmla="*/ 0 h 10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646" h="104134" fill="none" extrusionOk="0">
                    <a:moveTo>
                      <a:pt x="0" y="0"/>
                    </a:moveTo>
                    <a:cubicBezTo>
                      <a:pt x="303527" y="-11224"/>
                      <a:pt x="347830" y="-2420"/>
                      <a:pt x="622646" y="0"/>
                    </a:cubicBezTo>
                    <a:cubicBezTo>
                      <a:pt x="617543" y="49713"/>
                      <a:pt x="627647" y="70936"/>
                      <a:pt x="622646" y="104134"/>
                    </a:cubicBezTo>
                    <a:cubicBezTo>
                      <a:pt x="427445" y="95508"/>
                      <a:pt x="185225" y="129744"/>
                      <a:pt x="0" y="104134"/>
                    </a:cubicBezTo>
                    <a:cubicBezTo>
                      <a:pt x="-1595" y="70651"/>
                      <a:pt x="3854" y="34322"/>
                      <a:pt x="0" y="0"/>
                    </a:cubicBezTo>
                    <a:close/>
                  </a:path>
                  <a:path w="622646" h="104134" stroke="0" extrusionOk="0">
                    <a:moveTo>
                      <a:pt x="0" y="0"/>
                    </a:moveTo>
                    <a:cubicBezTo>
                      <a:pt x="270705" y="-8460"/>
                      <a:pt x="453983" y="-12708"/>
                      <a:pt x="622646" y="0"/>
                    </a:cubicBezTo>
                    <a:cubicBezTo>
                      <a:pt x="619928" y="35983"/>
                      <a:pt x="619772" y="62275"/>
                      <a:pt x="622646" y="104134"/>
                    </a:cubicBezTo>
                    <a:cubicBezTo>
                      <a:pt x="357335" y="87148"/>
                      <a:pt x="268814" y="119323"/>
                      <a:pt x="0" y="104134"/>
                    </a:cubicBezTo>
                    <a:cubicBezTo>
                      <a:pt x="933" y="57310"/>
                      <a:pt x="-398" y="29390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67" name="Webpage Close Icon" descr="Close">
                <a:extLst>
                  <a:ext uri="{FF2B5EF4-FFF2-40B4-BE49-F238E27FC236}">
                    <a16:creationId xmlns:a16="http://schemas.microsoft.com/office/drawing/2014/main" id="{F4D71EF8-34BF-4AEA-B8B2-B46025EB1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5717383" y="2296983"/>
                <a:ext cx="44638" cy="44638"/>
              </a:xfrm>
              <a:prstGeom prst="rect">
                <a:avLst/>
              </a:prstGeom>
            </p:spPr>
          </p:pic>
          <p:sp>
            <p:nvSpPr>
              <p:cNvPr id="68" name="Webpage Name">
                <a:extLst>
                  <a:ext uri="{FF2B5EF4-FFF2-40B4-BE49-F238E27FC236}">
                    <a16:creationId xmlns:a16="http://schemas.microsoft.com/office/drawing/2014/main" id="{5B6DB7DF-A1B9-4E0D-9EBD-5C6539A99FB1}"/>
                  </a:ext>
                </a:extLst>
              </p:cNvPr>
              <p:cNvSpPr txBox="1"/>
              <p:nvPr/>
            </p:nvSpPr>
            <p:spPr>
              <a:xfrm>
                <a:off x="5272180" y="2289186"/>
                <a:ext cx="138919" cy="53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400" dirty="0">
                    <a:solidFill>
                      <a:srgbClr val="555555"/>
                    </a:solidFill>
                  </a:rPr>
                  <a:t>Start</a:t>
                </a:r>
              </a:p>
            </p:txBody>
          </p:sp>
          <p:grpSp>
            <p:nvGrpSpPr>
              <p:cNvPr id="302" name="Website Icon Placeholder">
                <a:extLst>
                  <a:ext uri="{FF2B5EF4-FFF2-40B4-BE49-F238E27FC236}">
                    <a16:creationId xmlns:a16="http://schemas.microsoft.com/office/drawing/2014/main" id="{025B4B13-F354-459C-964D-4BF34379E3F6}"/>
                  </a:ext>
                </a:extLst>
              </p:cNvPr>
              <p:cNvGrpSpPr/>
              <p:nvPr/>
            </p:nvGrpSpPr>
            <p:grpSpPr>
              <a:xfrm>
                <a:off x="5204508" y="2295596"/>
                <a:ext cx="41452" cy="40711"/>
                <a:chOff x="1950533" y="1912092"/>
                <a:chExt cx="144420" cy="141838"/>
              </a:xfrm>
            </p:grpSpPr>
            <p:sp>
              <p:nvSpPr>
                <p:cNvPr id="304" name="Square">
                  <a:extLst>
                    <a:ext uri="{FF2B5EF4-FFF2-40B4-BE49-F238E27FC236}">
                      <a16:creationId xmlns:a16="http://schemas.microsoft.com/office/drawing/2014/main" id="{66CC0390-0F02-4344-9C1F-B6FD88CC1F93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3175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05" name="Line 2">
                  <a:extLst>
                    <a:ext uri="{FF2B5EF4-FFF2-40B4-BE49-F238E27FC236}">
                      <a16:creationId xmlns:a16="http://schemas.microsoft.com/office/drawing/2014/main" id="{3A350A19-B221-4607-8AA1-7879DEF96E30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6" name="Line 1">
                  <a:extLst>
                    <a:ext uri="{FF2B5EF4-FFF2-40B4-BE49-F238E27FC236}">
                      <a16:creationId xmlns:a16="http://schemas.microsoft.com/office/drawing/2014/main" id="{C4400289-332B-4784-9D26-FA03CE806F7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5" name="Third Header">
              <a:extLst>
                <a:ext uri="{FF2B5EF4-FFF2-40B4-BE49-F238E27FC236}">
                  <a16:creationId xmlns:a16="http://schemas.microsoft.com/office/drawing/2014/main" id="{7155693D-D821-46C4-AF97-B1E5EE4723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974966" y="3577060"/>
              <a:ext cx="5534750" cy="476665"/>
              <a:chOff x="4974966" y="3577060"/>
              <a:chExt cx="5534750" cy="476665"/>
            </a:xfrm>
          </p:grpSpPr>
          <p:sp>
            <p:nvSpPr>
              <p:cNvPr id="27" name="Third Header Background">
                <a:extLst>
                  <a:ext uri="{FF2B5EF4-FFF2-40B4-BE49-F238E27FC236}">
                    <a16:creationId xmlns:a16="http://schemas.microsoft.com/office/drawing/2014/main" id="{FBCB9B12-FB5B-480F-8979-41138F7D85C7}"/>
                  </a:ext>
                </a:extLst>
              </p:cNvPr>
              <p:cNvSpPr/>
              <p:nvPr/>
            </p:nvSpPr>
            <p:spPr>
              <a:xfrm>
                <a:off x="4974966" y="3577060"/>
                <a:ext cx="5534750" cy="476665"/>
              </a:xfrm>
              <a:custGeom>
                <a:avLst/>
                <a:gdLst>
                  <a:gd name="connsiteX0" fmla="*/ 0 w 5534750"/>
                  <a:gd name="connsiteY0" fmla="*/ 0 h 476665"/>
                  <a:gd name="connsiteX1" fmla="*/ 581149 w 5534750"/>
                  <a:gd name="connsiteY1" fmla="*/ 0 h 476665"/>
                  <a:gd name="connsiteX2" fmla="*/ 1328340 w 5534750"/>
                  <a:gd name="connsiteY2" fmla="*/ 0 h 476665"/>
                  <a:gd name="connsiteX3" fmla="*/ 1964836 w 5534750"/>
                  <a:gd name="connsiteY3" fmla="*/ 0 h 476665"/>
                  <a:gd name="connsiteX4" fmla="*/ 2545985 w 5534750"/>
                  <a:gd name="connsiteY4" fmla="*/ 0 h 476665"/>
                  <a:gd name="connsiteX5" fmla="*/ 3293176 w 5534750"/>
                  <a:gd name="connsiteY5" fmla="*/ 0 h 476665"/>
                  <a:gd name="connsiteX6" fmla="*/ 3985020 w 5534750"/>
                  <a:gd name="connsiteY6" fmla="*/ 0 h 476665"/>
                  <a:gd name="connsiteX7" fmla="*/ 4676864 w 5534750"/>
                  <a:gd name="connsiteY7" fmla="*/ 0 h 476665"/>
                  <a:gd name="connsiteX8" fmla="*/ 5534750 w 5534750"/>
                  <a:gd name="connsiteY8" fmla="*/ 0 h 476665"/>
                  <a:gd name="connsiteX9" fmla="*/ 5534750 w 5534750"/>
                  <a:gd name="connsiteY9" fmla="*/ 476665 h 476665"/>
                  <a:gd name="connsiteX10" fmla="*/ 4953601 w 5534750"/>
                  <a:gd name="connsiteY10" fmla="*/ 476665 h 476665"/>
                  <a:gd name="connsiteX11" fmla="*/ 4427800 w 5534750"/>
                  <a:gd name="connsiteY11" fmla="*/ 476665 h 476665"/>
                  <a:gd name="connsiteX12" fmla="*/ 3680609 w 5534750"/>
                  <a:gd name="connsiteY12" fmla="*/ 476665 h 476665"/>
                  <a:gd name="connsiteX13" fmla="*/ 3099460 w 5534750"/>
                  <a:gd name="connsiteY13" fmla="*/ 476665 h 476665"/>
                  <a:gd name="connsiteX14" fmla="*/ 2352269 w 5534750"/>
                  <a:gd name="connsiteY14" fmla="*/ 476665 h 476665"/>
                  <a:gd name="connsiteX15" fmla="*/ 1549730 w 5534750"/>
                  <a:gd name="connsiteY15" fmla="*/ 476665 h 476665"/>
                  <a:gd name="connsiteX16" fmla="*/ 913234 w 5534750"/>
                  <a:gd name="connsiteY16" fmla="*/ 476665 h 476665"/>
                  <a:gd name="connsiteX17" fmla="*/ 0 w 5534750"/>
                  <a:gd name="connsiteY17" fmla="*/ 476665 h 476665"/>
                  <a:gd name="connsiteX18" fmla="*/ 0 w 5534750"/>
                  <a:gd name="connsiteY18" fmla="*/ 0 h 476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534750" h="476665" fill="none" extrusionOk="0">
                    <a:moveTo>
                      <a:pt x="0" y="0"/>
                    </a:moveTo>
                    <a:cubicBezTo>
                      <a:pt x="226220" y="-10526"/>
                      <a:pt x="444328" y="-22394"/>
                      <a:pt x="581149" y="0"/>
                    </a:cubicBezTo>
                    <a:cubicBezTo>
                      <a:pt x="717970" y="22394"/>
                      <a:pt x="1109500" y="-8409"/>
                      <a:pt x="1328340" y="0"/>
                    </a:cubicBezTo>
                    <a:cubicBezTo>
                      <a:pt x="1547180" y="8409"/>
                      <a:pt x="1672839" y="-28540"/>
                      <a:pt x="1964836" y="0"/>
                    </a:cubicBezTo>
                    <a:cubicBezTo>
                      <a:pt x="2256833" y="28540"/>
                      <a:pt x="2407620" y="20399"/>
                      <a:pt x="2545985" y="0"/>
                    </a:cubicBezTo>
                    <a:cubicBezTo>
                      <a:pt x="2684350" y="-20399"/>
                      <a:pt x="2982220" y="19289"/>
                      <a:pt x="3293176" y="0"/>
                    </a:cubicBezTo>
                    <a:cubicBezTo>
                      <a:pt x="3604132" y="-19289"/>
                      <a:pt x="3739565" y="-22429"/>
                      <a:pt x="3985020" y="0"/>
                    </a:cubicBezTo>
                    <a:cubicBezTo>
                      <a:pt x="4230475" y="22429"/>
                      <a:pt x="4531431" y="25559"/>
                      <a:pt x="4676864" y="0"/>
                    </a:cubicBezTo>
                    <a:cubicBezTo>
                      <a:pt x="4822297" y="-25559"/>
                      <a:pt x="5172795" y="26497"/>
                      <a:pt x="5534750" y="0"/>
                    </a:cubicBezTo>
                    <a:cubicBezTo>
                      <a:pt x="5553419" y="195077"/>
                      <a:pt x="5513077" y="325095"/>
                      <a:pt x="5534750" y="476665"/>
                    </a:cubicBezTo>
                    <a:cubicBezTo>
                      <a:pt x="5413628" y="481370"/>
                      <a:pt x="5237981" y="504840"/>
                      <a:pt x="4953601" y="476665"/>
                    </a:cubicBezTo>
                    <a:cubicBezTo>
                      <a:pt x="4669221" y="448490"/>
                      <a:pt x="4574877" y="486443"/>
                      <a:pt x="4427800" y="476665"/>
                    </a:cubicBezTo>
                    <a:cubicBezTo>
                      <a:pt x="4280723" y="466887"/>
                      <a:pt x="3977593" y="472217"/>
                      <a:pt x="3680609" y="476665"/>
                    </a:cubicBezTo>
                    <a:cubicBezTo>
                      <a:pt x="3383625" y="481113"/>
                      <a:pt x="3352682" y="480366"/>
                      <a:pt x="3099460" y="476665"/>
                    </a:cubicBezTo>
                    <a:cubicBezTo>
                      <a:pt x="2846238" y="472964"/>
                      <a:pt x="2651075" y="497952"/>
                      <a:pt x="2352269" y="476665"/>
                    </a:cubicBezTo>
                    <a:cubicBezTo>
                      <a:pt x="2053463" y="455378"/>
                      <a:pt x="1792537" y="443486"/>
                      <a:pt x="1549730" y="476665"/>
                    </a:cubicBezTo>
                    <a:cubicBezTo>
                      <a:pt x="1306923" y="509844"/>
                      <a:pt x="1182807" y="491764"/>
                      <a:pt x="913234" y="476665"/>
                    </a:cubicBezTo>
                    <a:cubicBezTo>
                      <a:pt x="643661" y="461566"/>
                      <a:pt x="227635" y="453721"/>
                      <a:pt x="0" y="476665"/>
                    </a:cubicBezTo>
                    <a:cubicBezTo>
                      <a:pt x="16956" y="241080"/>
                      <a:pt x="-16541" y="155627"/>
                      <a:pt x="0" y="0"/>
                    </a:cubicBezTo>
                    <a:close/>
                  </a:path>
                  <a:path w="5534750" h="476665" stroke="0" extrusionOk="0">
                    <a:moveTo>
                      <a:pt x="0" y="0"/>
                    </a:moveTo>
                    <a:cubicBezTo>
                      <a:pt x="209951" y="2556"/>
                      <a:pt x="364705" y="-12908"/>
                      <a:pt x="636496" y="0"/>
                    </a:cubicBezTo>
                    <a:cubicBezTo>
                      <a:pt x="908287" y="12908"/>
                      <a:pt x="1028134" y="-16315"/>
                      <a:pt x="1162298" y="0"/>
                    </a:cubicBezTo>
                    <a:cubicBezTo>
                      <a:pt x="1296462" y="16315"/>
                      <a:pt x="1752390" y="24046"/>
                      <a:pt x="1964836" y="0"/>
                    </a:cubicBezTo>
                    <a:cubicBezTo>
                      <a:pt x="2177282" y="-24046"/>
                      <a:pt x="2403234" y="28488"/>
                      <a:pt x="2601333" y="0"/>
                    </a:cubicBezTo>
                    <a:cubicBezTo>
                      <a:pt x="2799432" y="-28488"/>
                      <a:pt x="3097571" y="6773"/>
                      <a:pt x="3237829" y="0"/>
                    </a:cubicBezTo>
                    <a:cubicBezTo>
                      <a:pt x="3378087" y="-6773"/>
                      <a:pt x="3751299" y="13300"/>
                      <a:pt x="4040368" y="0"/>
                    </a:cubicBezTo>
                    <a:cubicBezTo>
                      <a:pt x="4329437" y="-13300"/>
                      <a:pt x="4414982" y="43"/>
                      <a:pt x="4621516" y="0"/>
                    </a:cubicBezTo>
                    <a:cubicBezTo>
                      <a:pt x="4828050" y="-43"/>
                      <a:pt x="5221638" y="-27378"/>
                      <a:pt x="5534750" y="0"/>
                    </a:cubicBezTo>
                    <a:cubicBezTo>
                      <a:pt x="5536158" y="179279"/>
                      <a:pt x="5528519" y="332776"/>
                      <a:pt x="5534750" y="476665"/>
                    </a:cubicBezTo>
                    <a:cubicBezTo>
                      <a:pt x="5393450" y="467810"/>
                      <a:pt x="5088552" y="482363"/>
                      <a:pt x="4953601" y="476665"/>
                    </a:cubicBezTo>
                    <a:cubicBezTo>
                      <a:pt x="4818650" y="470967"/>
                      <a:pt x="4435564" y="471373"/>
                      <a:pt x="4261758" y="476665"/>
                    </a:cubicBezTo>
                    <a:cubicBezTo>
                      <a:pt x="4087952" y="481957"/>
                      <a:pt x="3781496" y="478168"/>
                      <a:pt x="3625261" y="476665"/>
                    </a:cubicBezTo>
                    <a:cubicBezTo>
                      <a:pt x="3469026" y="475162"/>
                      <a:pt x="3100729" y="482220"/>
                      <a:pt x="2822723" y="476665"/>
                    </a:cubicBezTo>
                    <a:cubicBezTo>
                      <a:pt x="2544717" y="471110"/>
                      <a:pt x="2414615" y="486845"/>
                      <a:pt x="2020184" y="476665"/>
                    </a:cubicBezTo>
                    <a:cubicBezTo>
                      <a:pt x="1625753" y="466485"/>
                      <a:pt x="1665873" y="454549"/>
                      <a:pt x="1439035" y="476665"/>
                    </a:cubicBezTo>
                    <a:cubicBezTo>
                      <a:pt x="1212197" y="498781"/>
                      <a:pt x="935423" y="468990"/>
                      <a:pt x="747191" y="476665"/>
                    </a:cubicBezTo>
                    <a:cubicBezTo>
                      <a:pt x="558959" y="484340"/>
                      <a:pt x="334324" y="473837"/>
                      <a:pt x="0" y="476665"/>
                    </a:cubicBezTo>
                    <a:cubicBezTo>
                      <a:pt x="-14113" y="299305"/>
                      <a:pt x="3486" y="134184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95" name="Search Bar">
                <a:extLst>
                  <a:ext uri="{FF2B5EF4-FFF2-40B4-BE49-F238E27FC236}">
                    <a16:creationId xmlns:a16="http://schemas.microsoft.com/office/drawing/2014/main" id="{60FDC7C1-6596-4EDF-B463-7306E682D35F}"/>
                  </a:ext>
                </a:extLst>
              </p:cNvPr>
              <p:cNvGrpSpPr/>
              <p:nvPr/>
            </p:nvGrpSpPr>
            <p:grpSpPr>
              <a:xfrm>
                <a:off x="5212327" y="3743941"/>
                <a:ext cx="1080903" cy="166199"/>
                <a:chOff x="5212327" y="3743941"/>
                <a:chExt cx="1012165" cy="166199"/>
              </a:xfrm>
            </p:grpSpPr>
            <p:sp>
              <p:nvSpPr>
                <p:cNvPr id="90" name="Search Placeholder">
                  <a:extLst>
                    <a:ext uri="{FF2B5EF4-FFF2-40B4-BE49-F238E27FC236}">
                      <a16:creationId xmlns:a16="http://schemas.microsoft.com/office/drawing/2014/main" id="{B91798FF-661C-4F6E-A17A-BF5B6894F9C0}"/>
                    </a:ext>
                  </a:extLst>
                </p:cNvPr>
                <p:cNvSpPr/>
                <p:nvPr/>
              </p:nvSpPr>
              <p:spPr>
                <a:xfrm>
                  <a:off x="5255834" y="3757383"/>
                  <a:ext cx="968658" cy="123904"/>
                </a:xfrm>
                <a:custGeom>
                  <a:avLst/>
                  <a:gdLst>
                    <a:gd name="connsiteX0" fmla="*/ 0 w 968658"/>
                    <a:gd name="connsiteY0" fmla="*/ 6074 h 123904"/>
                    <a:gd name="connsiteX1" fmla="*/ 6074 w 968658"/>
                    <a:gd name="connsiteY1" fmla="*/ 0 h 123904"/>
                    <a:gd name="connsiteX2" fmla="*/ 465199 w 968658"/>
                    <a:gd name="connsiteY2" fmla="*/ 0 h 123904"/>
                    <a:gd name="connsiteX3" fmla="*/ 962584 w 968658"/>
                    <a:gd name="connsiteY3" fmla="*/ 0 h 123904"/>
                    <a:gd name="connsiteX4" fmla="*/ 968658 w 968658"/>
                    <a:gd name="connsiteY4" fmla="*/ 6074 h 123904"/>
                    <a:gd name="connsiteX5" fmla="*/ 968658 w 968658"/>
                    <a:gd name="connsiteY5" fmla="*/ 117830 h 123904"/>
                    <a:gd name="connsiteX6" fmla="*/ 962584 w 968658"/>
                    <a:gd name="connsiteY6" fmla="*/ 123904 h 123904"/>
                    <a:gd name="connsiteX7" fmla="*/ 465199 w 968658"/>
                    <a:gd name="connsiteY7" fmla="*/ 123904 h 123904"/>
                    <a:gd name="connsiteX8" fmla="*/ 6074 w 968658"/>
                    <a:gd name="connsiteY8" fmla="*/ 123904 h 123904"/>
                    <a:gd name="connsiteX9" fmla="*/ 0 w 968658"/>
                    <a:gd name="connsiteY9" fmla="*/ 117830 h 123904"/>
                    <a:gd name="connsiteX10" fmla="*/ 0 w 968658"/>
                    <a:gd name="connsiteY10" fmla="*/ 6074 h 123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968658" h="123904" fill="none" extrusionOk="0">
                      <a:moveTo>
                        <a:pt x="0" y="6074"/>
                      </a:moveTo>
                      <a:cubicBezTo>
                        <a:pt x="38" y="2164"/>
                        <a:pt x="2365" y="623"/>
                        <a:pt x="6074" y="0"/>
                      </a:cubicBezTo>
                      <a:cubicBezTo>
                        <a:pt x="101799" y="-19685"/>
                        <a:pt x="319782" y="-9293"/>
                        <a:pt x="465199" y="0"/>
                      </a:cubicBezTo>
                      <a:cubicBezTo>
                        <a:pt x="610617" y="9293"/>
                        <a:pt x="745944" y="20619"/>
                        <a:pt x="962584" y="0"/>
                      </a:cubicBezTo>
                      <a:cubicBezTo>
                        <a:pt x="965498" y="118"/>
                        <a:pt x="968714" y="2100"/>
                        <a:pt x="968658" y="6074"/>
                      </a:cubicBezTo>
                      <a:cubicBezTo>
                        <a:pt x="970374" y="56560"/>
                        <a:pt x="970993" y="75727"/>
                        <a:pt x="968658" y="117830"/>
                      </a:cubicBezTo>
                      <a:cubicBezTo>
                        <a:pt x="968477" y="121627"/>
                        <a:pt x="966320" y="124545"/>
                        <a:pt x="962584" y="123904"/>
                      </a:cubicBezTo>
                      <a:cubicBezTo>
                        <a:pt x="792466" y="105696"/>
                        <a:pt x="690087" y="117019"/>
                        <a:pt x="465199" y="123904"/>
                      </a:cubicBezTo>
                      <a:cubicBezTo>
                        <a:pt x="240311" y="130789"/>
                        <a:pt x="131875" y="140167"/>
                        <a:pt x="6074" y="123904"/>
                      </a:cubicBezTo>
                      <a:cubicBezTo>
                        <a:pt x="2721" y="124066"/>
                        <a:pt x="337" y="121084"/>
                        <a:pt x="0" y="117830"/>
                      </a:cubicBezTo>
                      <a:cubicBezTo>
                        <a:pt x="4986" y="83946"/>
                        <a:pt x="610" y="52854"/>
                        <a:pt x="0" y="6074"/>
                      </a:cubicBezTo>
                      <a:close/>
                    </a:path>
                    <a:path w="968658" h="123904" stroke="0" extrusionOk="0">
                      <a:moveTo>
                        <a:pt x="0" y="6074"/>
                      </a:moveTo>
                      <a:cubicBezTo>
                        <a:pt x="352" y="2054"/>
                        <a:pt x="2431" y="555"/>
                        <a:pt x="6074" y="0"/>
                      </a:cubicBezTo>
                      <a:cubicBezTo>
                        <a:pt x="141916" y="23477"/>
                        <a:pt x="385077" y="11993"/>
                        <a:pt x="493894" y="0"/>
                      </a:cubicBezTo>
                      <a:cubicBezTo>
                        <a:pt x="602711" y="-11993"/>
                        <a:pt x="793366" y="23139"/>
                        <a:pt x="962584" y="0"/>
                      </a:cubicBezTo>
                      <a:cubicBezTo>
                        <a:pt x="966521" y="-163"/>
                        <a:pt x="968849" y="2867"/>
                        <a:pt x="968658" y="6074"/>
                      </a:cubicBezTo>
                      <a:cubicBezTo>
                        <a:pt x="969259" y="31334"/>
                        <a:pt x="970774" y="75197"/>
                        <a:pt x="968658" y="117830"/>
                      </a:cubicBezTo>
                      <a:cubicBezTo>
                        <a:pt x="968256" y="121129"/>
                        <a:pt x="965666" y="124068"/>
                        <a:pt x="962584" y="123904"/>
                      </a:cubicBezTo>
                      <a:cubicBezTo>
                        <a:pt x="808315" y="134252"/>
                        <a:pt x="638291" y="127241"/>
                        <a:pt x="465199" y="123904"/>
                      </a:cubicBezTo>
                      <a:cubicBezTo>
                        <a:pt x="292108" y="120567"/>
                        <a:pt x="180128" y="139354"/>
                        <a:pt x="6074" y="123904"/>
                      </a:cubicBezTo>
                      <a:cubicBezTo>
                        <a:pt x="2588" y="124430"/>
                        <a:pt x="-802" y="121104"/>
                        <a:pt x="0" y="117830"/>
                      </a:cubicBezTo>
                      <a:cubicBezTo>
                        <a:pt x="3768" y="70301"/>
                        <a:pt x="4070" y="32202"/>
                        <a:pt x="0" y="607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666666"/>
                  </a:solidFill>
                  <a:extLst>
                    <a:ext uri="{C807C97D-BFC1-408E-A445-0C87EB9F89A2}">
                      <ask:lineSketchStyleProps xmlns:ask="http://schemas.microsoft.com/office/drawing/2018/sketchyshapes" sd="2024747198">
                        <a:prstGeom prst="roundRect">
                          <a:avLst>
                            <a:gd name="adj" fmla="val 4902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91" name="Search Icon" descr="Magnifying glass">
                  <a:extLst>
                    <a:ext uri="{FF2B5EF4-FFF2-40B4-BE49-F238E27FC236}">
                      <a16:creationId xmlns:a16="http://schemas.microsoft.com/office/drawing/2014/main" id="{9FB0CF22-4214-445B-8FD6-BEE8869602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17979" y="3780953"/>
                  <a:ext cx="76572" cy="76572"/>
                </a:xfrm>
                <a:prstGeom prst="rect">
                  <a:avLst/>
                </a:prstGeom>
              </p:spPr>
            </p:pic>
            <p:sp>
              <p:nvSpPr>
                <p:cNvPr id="92" name="Search Text">
                  <a:extLst>
                    <a:ext uri="{FF2B5EF4-FFF2-40B4-BE49-F238E27FC236}">
                      <a16:creationId xmlns:a16="http://schemas.microsoft.com/office/drawing/2014/main" id="{19D3675B-AD06-428D-8F0B-328A9EC3C21B}"/>
                    </a:ext>
                  </a:extLst>
                </p:cNvPr>
                <p:cNvSpPr txBox="1"/>
                <p:nvPr/>
              </p:nvSpPr>
              <p:spPr>
                <a:xfrm>
                  <a:off x="5212327" y="3743941"/>
                  <a:ext cx="457951" cy="1661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480" dirty="0">
                      <a:solidFill>
                        <a:srgbClr val="7D7D7D"/>
                      </a:solidFill>
                    </a:rPr>
                    <a:t>Search…</a:t>
                  </a:r>
                </a:p>
              </p:txBody>
            </p:sp>
          </p:grpSp>
          <p:grpSp>
            <p:nvGrpSpPr>
              <p:cNvPr id="185" name="Gift Card Placeholder">
                <a:extLst>
                  <a:ext uri="{FF2B5EF4-FFF2-40B4-BE49-F238E27FC236}">
                    <a16:creationId xmlns:a16="http://schemas.microsoft.com/office/drawing/2014/main" id="{8A0E00E0-8971-4292-8060-D57FB87CEAFC}"/>
                  </a:ext>
                </a:extLst>
              </p:cNvPr>
              <p:cNvGrpSpPr/>
              <p:nvPr/>
            </p:nvGrpSpPr>
            <p:grpSpPr>
              <a:xfrm>
                <a:off x="9508467" y="3716774"/>
                <a:ext cx="313573" cy="220318"/>
                <a:chOff x="9508467" y="3716774"/>
                <a:chExt cx="313573" cy="220318"/>
              </a:xfrm>
            </p:grpSpPr>
            <p:grpSp>
              <p:nvGrpSpPr>
                <p:cNvPr id="314" name="Gift Card Icon Placeholder">
                  <a:extLst>
                    <a:ext uri="{FF2B5EF4-FFF2-40B4-BE49-F238E27FC236}">
                      <a16:creationId xmlns:a16="http://schemas.microsoft.com/office/drawing/2014/main" id="{A4A08438-935B-430A-AE33-686222C63E5F}"/>
                    </a:ext>
                  </a:extLst>
                </p:cNvPr>
                <p:cNvGrpSpPr/>
                <p:nvPr/>
              </p:nvGrpSpPr>
              <p:grpSpPr>
                <a:xfrm>
                  <a:off x="9559109" y="3716774"/>
                  <a:ext cx="199945" cy="139523"/>
                  <a:chOff x="1930203" y="1912092"/>
                  <a:chExt cx="144417" cy="141838"/>
                </a:xfrm>
              </p:grpSpPr>
              <p:sp>
                <p:nvSpPr>
                  <p:cNvPr id="315" name="Box">
                    <a:extLst>
                      <a:ext uri="{FF2B5EF4-FFF2-40B4-BE49-F238E27FC236}">
                        <a16:creationId xmlns:a16="http://schemas.microsoft.com/office/drawing/2014/main" id="{6C37AF82-CA67-45DC-A4D8-7EB6961DD11E}"/>
                      </a:ext>
                    </a:extLst>
                  </p:cNvPr>
                  <p:cNvSpPr/>
                  <p:nvPr/>
                </p:nvSpPr>
                <p:spPr>
                  <a:xfrm>
                    <a:off x="1932289" y="1913132"/>
                    <a:ext cx="141684" cy="140798"/>
                  </a:xfrm>
                  <a:custGeom>
                    <a:avLst/>
                    <a:gdLst>
                      <a:gd name="connsiteX0" fmla="*/ 0 w 141684"/>
                      <a:gd name="connsiteY0" fmla="*/ 0 h 140798"/>
                      <a:gd name="connsiteX1" fmla="*/ 141684 w 141684"/>
                      <a:gd name="connsiteY1" fmla="*/ 0 h 140798"/>
                      <a:gd name="connsiteX2" fmla="*/ 141684 w 141684"/>
                      <a:gd name="connsiteY2" fmla="*/ 140798 h 140798"/>
                      <a:gd name="connsiteX3" fmla="*/ 0 w 141684"/>
                      <a:gd name="connsiteY3" fmla="*/ 140798 h 140798"/>
                      <a:gd name="connsiteX4" fmla="*/ 0 w 141684"/>
                      <a:gd name="connsiteY4" fmla="*/ 0 h 140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684" h="140798" fill="none" extrusionOk="0">
                        <a:moveTo>
                          <a:pt x="0" y="0"/>
                        </a:moveTo>
                        <a:cubicBezTo>
                          <a:pt x="45991" y="1878"/>
                          <a:pt x="96569" y="5713"/>
                          <a:pt x="141684" y="0"/>
                        </a:cubicBezTo>
                        <a:cubicBezTo>
                          <a:pt x="138845" y="57765"/>
                          <a:pt x="145173" y="72590"/>
                          <a:pt x="141684" y="140798"/>
                        </a:cubicBezTo>
                        <a:cubicBezTo>
                          <a:pt x="80807" y="141118"/>
                          <a:pt x="31063" y="140290"/>
                          <a:pt x="0" y="140798"/>
                        </a:cubicBezTo>
                        <a:cubicBezTo>
                          <a:pt x="1379" y="91549"/>
                          <a:pt x="-187" y="55626"/>
                          <a:pt x="0" y="0"/>
                        </a:cubicBezTo>
                        <a:close/>
                      </a:path>
                      <a:path w="141684" h="140798" stroke="0" extrusionOk="0">
                        <a:moveTo>
                          <a:pt x="0" y="0"/>
                        </a:moveTo>
                        <a:cubicBezTo>
                          <a:pt x="62393" y="2102"/>
                          <a:pt x="83537" y="-1382"/>
                          <a:pt x="141684" y="0"/>
                        </a:cubicBezTo>
                        <a:cubicBezTo>
                          <a:pt x="135837" y="59974"/>
                          <a:pt x="144028" y="102945"/>
                          <a:pt x="141684" y="140798"/>
                        </a:cubicBezTo>
                        <a:cubicBezTo>
                          <a:pt x="95486" y="144697"/>
                          <a:pt x="42034" y="141879"/>
                          <a:pt x="0" y="140798"/>
                        </a:cubicBezTo>
                        <a:cubicBezTo>
                          <a:pt x="-996" y="102443"/>
                          <a:pt x="5794" y="61365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2F2F2"/>
                  </a:solidFill>
                  <a:ln w="6350">
                    <a:solidFill>
                      <a:srgbClr val="444446"/>
                    </a:solidFill>
                    <a:extLst>
                      <a:ext uri="{C807C97D-BFC1-408E-A445-0C87EB9F89A2}">
                        <ask:lineSketchStyleProps xmlns:ask="http://schemas.microsoft.com/office/drawing/2018/sketchyshapes" sd="1927782525">
                          <a:prstGeom prst="rect">
                            <a:avLst/>
                          </a:prstGeom>
                          <ask:type>
                            <ask:lineSketchFreehand/>
                          </ask:type>
                        </ask:lineSketchStyleProps>
                      </a:ext>
                    </a:extLst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316" name="Line 2">
                    <a:extLst>
                      <a:ext uri="{FF2B5EF4-FFF2-40B4-BE49-F238E27FC236}">
                        <a16:creationId xmlns:a16="http://schemas.microsoft.com/office/drawing/2014/main" id="{8356976A-3B6B-4DB3-BC4B-920A025AC31C}"/>
                      </a:ext>
                    </a:extLst>
                  </p:cNvPr>
                  <p:cNvCxnSpPr/>
                  <p:nvPr/>
                </p:nvCxnSpPr>
                <p:spPr>
                  <a:xfrm>
                    <a:off x="1930203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17" name="Line 1">
                    <a:extLst>
                      <a:ext uri="{FF2B5EF4-FFF2-40B4-BE49-F238E27FC236}">
                        <a16:creationId xmlns:a16="http://schemas.microsoft.com/office/drawing/2014/main" id="{6070CACF-6655-4719-85AA-4790A832045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930844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18" name="Gift Card Text">
                  <a:extLst>
                    <a:ext uri="{FF2B5EF4-FFF2-40B4-BE49-F238E27FC236}">
                      <a16:creationId xmlns:a16="http://schemas.microsoft.com/office/drawing/2014/main" id="{E75D728A-1538-4765-BE05-A0A367A9CD2A}"/>
                    </a:ext>
                  </a:extLst>
                </p:cNvPr>
                <p:cNvSpPr txBox="1"/>
                <p:nvPr/>
              </p:nvSpPr>
              <p:spPr>
                <a:xfrm>
                  <a:off x="9508467" y="3885223"/>
                  <a:ext cx="313573" cy="5186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ct val="110000"/>
                    </a:lnSpc>
                  </a:pPr>
                  <a:r>
                    <a:rPr lang="en-US" sz="330" dirty="0">
                      <a:solidFill>
                        <a:srgbClr val="67676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BUY GIFT CARD</a:t>
                  </a:r>
                </a:p>
              </p:txBody>
            </p:sp>
          </p:grpSp>
          <p:grpSp>
            <p:nvGrpSpPr>
              <p:cNvPr id="180" name="Redeem Placeholder">
                <a:extLst>
                  <a:ext uri="{FF2B5EF4-FFF2-40B4-BE49-F238E27FC236}">
                    <a16:creationId xmlns:a16="http://schemas.microsoft.com/office/drawing/2014/main" id="{BFC2026D-48A8-460A-957C-6B46395C77F4}"/>
                  </a:ext>
                </a:extLst>
              </p:cNvPr>
              <p:cNvGrpSpPr/>
              <p:nvPr/>
            </p:nvGrpSpPr>
            <p:grpSpPr>
              <a:xfrm>
                <a:off x="9947500" y="3716774"/>
                <a:ext cx="313573" cy="218960"/>
                <a:chOff x="9947500" y="3716774"/>
                <a:chExt cx="313573" cy="218960"/>
              </a:xfrm>
            </p:grpSpPr>
            <p:grpSp>
              <p:nvGrpSpPr>
                <p:cNvPr id="319" name="Redeem Icon Placeholder">
                  <a:extLst>
                    <a:ext uri="{FF2B5EF4-FFF2-40B4-BE49-F238E27FC236}">
                      <a16:creationId xmlns:a16="http://schemas.microsoft.com/office/drawing/2014/main" id="{C5AFA4DF-BD3E-4AB3-9A4B-E6C85E312C9B}"/>
                    </a:ext>
                  </a:extLst>
                </p:cNvPr>
                <p:cNvGrpSpPr/>
                <p:nvPr/>
              </p:nvGrpSpPr>
              <p:grpSpPr>
                <a:xfrm>
                  <a:off x="9998528" y="3716774"/>
                  <a:ext cx="199949" cy="139523"/>
                  <a:chOff x="1950533" y="1912092"/>
                  <a:chExt cx="144420" cy="141838"/>
                </a:xfrm>
              </p:grpSpPr>
              <p:sp>
                <p:nvSpPr>
                  <p:cNvPr id="320" name="Box">
                    <a:extLst>
                      <a:ext uri="{FF2B5EF4-FFF2-40B4-BE49-F238E27FC236}">
                        <a16:creationId xmlns:a16="http://schemas.microsoft.com/office/drawing/2014/main" id="{1363E057-D178-4E99-BBB5-93A9169CA977}"/>
                      </a:ext>
                    </a:extLst>
                  </p:cNvPr>
                  <p:cNvSpPr/>
                  <p:nvPr/>
                </p:nvSpPr>
                <p:spPr>
                  <a:xfrm>
                    <a:off x="1952625" y="1913132"/>
                    <a:ext cx="141684" cy="140798"/>
                  </a:xfrm>
                  <a:custGeom>
                    <a:avLst/>
                    <a:gdLst>
                      <a:gd name="connsiteX0" fmla="*/ 0 w 141684"/>
                      <a:gd name="connsiteY0" fmla="*/ 0 h 140798"/>
                      <a:gd name="connsiteX1" fmla="*/ 141684 w 141684"/>
                      <a:gd name="connsiteY1" fmla="*/ 0 h 140798"/>
                      <a:gd name="connsiteX2" fmla="*/ 141684 w 141684"/>
                      <a:gd name="connsiteY2" fmla="*/ 140798 h 140798"/>
                      <a:gd name="connsiteX3" fmla="*/ 0 w 141684"/>
                      <a:gd name="connsiteY3" fmla="*/ 140798 h 140798"/>
                      <a:gd name="connsiteX4" fmla="*/ 0 w 141684"/>
                      <a:gd name="connsiteY4" fmla="*/ 0 h 140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684" h="140798" fill="none" extrusionOk="0">
                        <a:moveTo>
                          <a:pt x="0" y="0"/>
                        </a:moveTo>
                        <a:cubicBezTo>
                          <a:pt x="45991" y="1878"/>
                          <a:pt x="96569" y="5713"/>
                          <a:pt x="141684" y="0"/>
                        </a:cubicBezTo>
                        <a:cubicBezTo>
                          <a:pt x="138845" y="57765"/>
                          <a:pt x="145173" y="72590"/>
                          <a:pt x="141684" y="140798"/>
                        </a:cubicBezTo>
                        <a:cubicBezTo>
                          <a:pt x="80807" y="141118"/>
                          <a:pt x="31063" y="140290"/>
                          <a:pt x="0" y="140798"/>
                        </a:cubicBezTo>
                        <a:cubicBezTo>
                          <a:pt x="1379" y="91549"/>
                          <a:pt x="-187" y="55626"/>
                          <a:pt x="0" y="0"/>
                        </a:cubicBezTo>
                        <a:close/>
                      </a:path>
                      <a:path w="141684" h="140798" stroke="0" extrusionOk="0">
                        <a:moveTo>
                          <a:pt x="0" y="0"/>
                        </a:moveTo>
                        <a:cubicBezTo>
                          <a:pt x="62393" y="2102"/>
                          <a:pt x="83537" y="-1382"/>
                          <a:pt x="141684" y="0"/>
                        </a:cubicBezTo>
                        <a:cubicBezTo>
                          <a:pt x="135837" y="59974"/>
                          <a:pt x="144028" y="102945"/>
                          <a:pt x="141684" y="140798"/>
                        </a:cubicBezTo>
                        <a:cubicBezTo>
                          <a:pt x="95486" y="144697"/>
                          <a:pt x="42034" y="141879"/>
                          <a:pt x="0" y="140798"/>
                        </a:cubicBezTo>
                        <a:cubicBezTo>
                          <a:pt x="-996" y="102443"/>
                          <a:pt x="5794" y="61365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2F2F2"/>
                  </a:solidFill>
                  <a:ln w="6350">
                    <a:solidFill>
                      <a:srgbClr val="444446"/>
                    </a:solidFill>
                    <a:extLst>
                      <a:ext uri="{C807C97D-BFC1-408E-A445-0C87EB9F89A2}">
                        <ask:lineSketchStyleProps xmlns:ask="http://schemas.microsoft.com/office/drawing/2018/sketchyshapes" sd="1927782525">
                          <a:prstGeom prst="rect">
                            <a:avLst/>
                          </a:prstGeom>
                          <ask:type>
                            <ask:lineSketchFreehand/>
                          </ask:type>
                        </ask:lineSketchStyleProps>
                      </a:ext>
                    </a:extLst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321" name="Line 2">
                    <a:extLst>
                      <a:ext uri="{FF2B5EF4-FFF2-40B4-BE49-F238E27FC236}">
                        <a16:creationId xmlns:a16="http://schemas.microsoft.com/office/drawing/2014/main" id="{C46FA87D-1454-494F-933E-9815F11593DC}"/>
                      </a:ext>
                    </a:extLst>
                  </p:cNvPr>
                  <p:cNvCxnSpPr/>
                  <p:nvPr/>
                </p:nvCxnSpPr>
                <p:spPr>
                  <a:xfrm>
                    <a:off x="1950533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22" name="Line 1">
                    <a:extLst>
                      <a:ext uri="{FF2B5EF4-FFF2-40B4-BE49-F238E27FC236}">
                        <a16:creationId xmlns:a16="http://schemas.microsoft.com/office/drawing/2014/main" id="{D20BA705-8DEA-4F9F-B31F-AF9D4FCA06C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951177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23" name="Redeem Code Text">
                  <a:extLst>
                    <a:ext uri="{FF2B5EF4-FFF2-40B4-BE49-F238E27FC236}">
                      <a16:creationId xmlns:a16="http://schemas.microsoft.com/office/drawing/2014/main" id="{6205EFCA-A23F-48B0-B722-B11BD74C2F80}"/>
                    </a:ext>
                  </a:extLst>
                </p:cNvPr>
                <p:cNvSpPr txBox="1"/>
                <p:nvPr/>
              </p:nvSpPr>
              <p:spPr>
                <a:xfrm>
                  <a:off x="9947500" y="3884181"/>
                  <a:ext cx="313573" cy="515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ct val="110000"/>
                    </a:lnSpc>
                  </a:pPr>
                  <a:r>
                    <a:rPr lang="en-US" sz="330" dirty="0">
                      <a:solidFill>
                        <a:srgbClr val="67676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REDEEM CODE</a:t>
                  </a:r>
                </a:p>
              </p:txBody>
            </p:sp>
          </p:grpSp>
        </p:grpSp>
        <p:grpSp>
          <p:nvGrpSpPr>
            <p:cNvPr id="187" name="Scroll Bar">
              <a:extLst>
                <a:ext uri="{FF2B5EF4-FFF2-40B4-BE49-F238E27FC236}">
                  <a16:creationId xmlns:a16="http://schemas.microsoft.com/office/drawing/2014/main" id="{9C66945B-7A55-471E-8F14-C38F79B1EFA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502264" y="2493396"/>
              <a:ext cx="53259" cy="3757867"/>
              <a:chOff x="10502264" y="2493396"/>
              <a:chExt cx="53259" cy="3757867"/>
            </a:xfrm>
          </p:grpSpPr>
          <p:sp>
            <p:nvSpPr>
              <p:cNvPr id="227" name="Scroll Bar Area">
                <a:extLst>
                  <a:ext uri="{FF2B5EF4-FFF2-40B4-BE49-F238E27FC236}">
                    <a16:creationId xmlns:a16="http://schemas.microsoft.com/office/drawing/2014/main" id="{1788598B-080D-497B-A3BB-FB26E451A7CB}"/>
                  </a:ext>
                </a:extLst>
              </p:cNvPr>
              <p:cNvSpPr/>
              <p:nvPr/>
            </p:nvSpPr>
            <p:spPr>
              <a:xfrm>
                <a:off x="10502264" y="2493396"/>
                <a:ext cx="52133" cy="3757867"/>
              </a:xfrm>
              <a:custGeom>
                <a:avLst/>
                <a:gdLst>
                  <a:gd name="connsiteX0" fmla="*/ 0 w 52133"/>
                  <a:gd name="connsiteY0" fmla="*/ 0 h 3757867"/>
                  <a:gd name="connsiteX1" fmla="*/ 52133 w 52133"/>
                  <a:gd name="connsiteY1" fmla="*/ 0 h 3757867"/>
                  <a:gd name="connsiteX2" fmla="*/ 52133 w 52133"/>
                  <a:gd name="connsiteY2" fmla="*/ 663890 h 3757867"/>
                  <a:gd name="connsiteX3" fmla="*/ 52133 w 52133"/>
                  <a:gd name="connsiteY3" fmla="*/ 1177465 h 3757867"/>
                  <a:gd name="connsiteX4" fmla="*/ 52133 w 52133"/>
                  <a:gd name="connsiteY4" fmla="*/ 1728619 h 3757867"/>
                  <a:gd name="connsiteX5" fmla="*/ 52133 w 52133"/>
                  <a:gd name="connsiteY5" fmla="*/ 2430087 h 3757867"/>
                  <a:gd name="connsiteX6" fmla="*/ 52133 w 52133"/>
                  <a:gd name="connsiteY6" fmla="*/ 3056398 h 3757867"/>
                  <a:gd name="connsiteX7" fmla="*/ 52133 w 52133"/>
                  <a:gd name="connsiteY7" fmla="*/ 3757867 h 3757867"/>
                  <a:gd name="connsiteX8" fmla="*/ 0 w 52133"/>
                  <a:gd name="connsiteY8" fmla="*/ 3757867 h 3757867"/>
                  <a:gd name="connsiteX9" fmla="*/ 0 w 52133"/>
                  <a:gd name="connsiteY9" fmla="*/ 3244292 h 3757867"/>
                  <a:gd name="connsiteX10" fmla="*/ 0 w 52133"/>
                  <a:gd name="connsiteY10" fmla="*/ 2542823 h 3757867"/>
                  <a:gd name="connsiteX11" fmla="*/ 0 w 52133"/>
                  <a:gd name="connsiteY11" fmla="*/ 1878934 h 3757867"/>
                  <a:gd name="connsiteX12" fmla="*/ 0 w 52133"/>
                  <a:gd name="connsiteY12" fmla="*/ 1365358 h 3757867"/>
                  <a:gd name="connsiteX13" fmla="*/ 0 w 52133"/>
                  <a:gd name="connsiteY13" fmla="*/ 776626 h 3757867"/>
                  <a:gd name="connsiteX14" fmla="*/ 0 w 52133"/>
                  <a:gd name="connsiteY14" fmla="*/ 0 h 375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133" h="3757867" fill="none" extrusionOk="0">
                    <a:moveTo>
                      <a:pt x="0" y="0"/>
                    </a:moveTo>
                    <a:cubicBezTo>
                      <a:pt x="15372" y="-917"/>
                      <a:pt x="27543" y="166"/>
                      <a:pt x="52133" y="0"/>
                    </a:cubicBezTo>
                    <a:cubicBezTo>
                      <a:pt x="70609" y="317402"/>
                      <a:pt x="70474" y="506721"/>
                      <a:pt x="52133" y="663890"/>
                    </a:cubicBezTo>
                    <a:cubicBezTo>
                      <a:pt x="33793" y="821059"/>
                      <a:pt x="43239" y="978111"/>
                      <a:pt x="52133" y="1177465"/>
                    </a:cubicBezTo>
                    <a:cubicBezTo>
                      <a:pt x="61027" y="1376820"/>
                      <a:pt x="58789" y="1612221"/>
                      <a:pt x="52133" y="1728619"/>
                    </a:cubicBezTo>
                    <a:cubicBezTo>
                      <a:pt x="45477" y="1845017"/>
                      <a:pt x="34569" y="2206769"/>
                      <a:pt x="52133" y="2430087"/>
                    </a:cubicBezTo>
                    <a:cubicBezTo>
                      <a:pt x="69697" y="2653405"/>
                      <a:pt x="60432" y="2890557"/>
                      <a:pt x="52133" y="3056398"/>
                    </a:cubicBezTo>
                    <a:cubicBezTo>
                      <a:pt x="43834" y="3222239"/>
                      <a:pt x="85356" y="3461122"/>
                      <a:pt x="52133" y="3757867"/>
                    </a:cubicBezTo>
                    <a:cubicBezTo>
                      <a:pt x="26436" y="3757303"/>
                      <a:pt x="23000" y="3759501"/>
                      <a:pt x="0" y="3757867"/>
                    </a:cubicBezTo>
                    <a:cubicBezTo>
                      <a:pt x="9218" y="3607307"/>
                      <a:pt x="24510" y="3359381"/>
                      <a:pt x="0" y="3244292"/>
                    </a:cubicBezTo>
                    <a:cubicBezTo>
                      <a:pt x="-24510" y="3129203"/>
                      <a:pt x="-28228" y="2774839"/>
                      <a:pt x="0" y="2542823"/>
                    </a:cubicBezTo>
                    <a:cubicBezTo>
                      <a:pt x="28228" y="2310807"/>
                      <a:pt x="2008" y="2193040"/>
                      <a:pt x="0" y="1878934"/>
                    </a:cubicBezTo>
                    <a:cubicBezTo>
                      <a:pt x="-2008" y="1564828"/>
                      <a:pt x="-5095" y="1619517"/>
                      <a:pt x="0" y="1365358"/>
                    </a:cubicBezTo>
                    <a:cubicBezTo>
                      <a:pt x="5095" y="1111199"/>
                      <a:pt x="17219" y="1041579"/>
                      <a:pt x="0" y="776626"/>
                    </a:cubicBezTo>
                    <a:cubicBezTo>
                      <a:pt x="-17219" y="511673"/>
                      <a:pt x="-27132" y="308248"/>
                      <a:pt x="0" y="0"/>
                    </a:cubicBezTo>
                    <a:close/>
                  </a:path>
                  <a:path w="52133" h="3757867" stroke="0" extrusionOk="0">
                    <a:moveTo>
                      <a:pt x="0" y="0"/>
                    </a:moveTo>
                    <a:cubicBezTo>
                      <a:pt x="21915" y="-657"/>
                      <a:pt x="39437" y="2072"/>
                      <a:pt x="52133" y="0"/>
                    </a:cubicBezTo>
                    <a:cubicBezTo>
                      <a:pt x="76900" y="243369"/>
                      <a:pt x="72699" y="381867"/>
                      <a:pt x="52133" y="513575"/>
                    </a:cubicBezTo>
                    <a:cubicBezTo>
                      <a:pt x="31567" y="645283"/>
                      <a:pt x="30661" y="981540"/>
                      <a:pt x="52133" y="1215044"/>
                    </a:cubicBezTo>
                    <a:cubicBezTo>
                      <a:pt x="73605" y="1448548"/>
                      <a:pt x="31276" y="1689708"/>
                      <a:pt x="52133" y="1841355"/>
                    </a:cubicBezTo>
                    <a:cubicBezTo>
                      <a:pt x="72990" y="1993002"/>
                      <a:pt x="76796" y="2154769"/>
                      <a:pt x="52133" y="2392509"/>
                    </a:cubicBezTo>
                    <a:cubicBezTo>
                      <a:pt x="27470" y="2630249"/>
                      <a:pt x="31890" y="2698274"/>
                      <a:pt x="52133" y="2943662"/>
                    </a:cubicBezTo>
                    <a:cubicBezTo>
                      <a:pt x="72376" y="3189050"/>
                      <a:pt x="46300" y="3551294"/>
                      <a:pt x="52133" y="3757867"/>
                    </a:cubicBezTo>
                    <a:cubicBezTo>
                      <a:pt x="29010" y="3759904"/>
                      <a:pt x="13548" y="3757558"/>
                      <a:pt x="0" y="3757867"/>
                    </a:cubicBezTo>
                    <a:cubicBezTo>
                      <a:pt x="-9942" y="3621751"/>
                      <a:pt x="-14842" y="3384448"/>
                      <a:pt x="0" y="3244292"/>
                    </a:cubicBezTo>
                    <a:cubicBezTo>
                      <a:pt x="14842" y="3104136"/>
                      <a:pt x="-1457" y="2885807"/>
                      <a:pt x="0" y="2655559"/>
                    </a:cubicBezTo>
                    <a:cubicBezTo>
                      <a:pt x="1457" y="2425311"/>
                      <a:pt x="22671" y="2282539"/>
                      <a:pt x="0" y="2066827"/>
                    </a:cubicBezTo>
                    <a:cubicBezTo>
                      <a:pt x="-22671" y="1851115"/>
                      <a:pt x="-11701" y="1707769"/>
                      <a:pt x="0" y="1402937"/>
                    </a:cubicBezTo>
                    <a:cubicBezTo>
                      <a:pt x="11701" y="1098105"/>
                      <a:pt x="-17168" y="1027286"/>
                      <a:pt x="0" y="814205"/>
                    </a:cubicBezTo>
                    <a:cubicBezTo>
                      <a:pt x="17168" y="601124"/>
                      <a:pt x="-18960" y="213816"/>
                      <a:pt x="0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3175">
                <a:noFill/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Scroll Bar">
                <a:extLst>
                  <a:ext uri="{FF2B5EF4-FFF2-40B4-BE49-F238E27FC236}">
                    <a16:creationId xmlns:a16="http://schemas.microsoft.com/office/drawing/2014/main" id="{A84E4B9C-2912-4128-9326-3D4E2920B107}"/>
                  </a:ext>
                </a:extLst>
              </p:cNvPr>
              <p:cNvSpPr/>
              <p:nvPr/>
            </p:nvSpPr>
            <p:spPr>
              <a:xfrm>
                <a:off x="10503390" y="2557074"/>
                <a:ext cx="52133" cy="747379"/>
              </a:xfrm>
              <a:custGeom>
                <a:avLst/>
                <a:gdLst>
                  <a:gd name="connsiteX0" fmla="*/ 0 w 52133"/>
                  <a:gd name="connsiteY0" fmla="*/ 0 h 747379"/>
                  <a:gd name="connsiteX1" fmla="*/ 52133 w 52133"/>
                  <a:gd name="connsiteY1" fmla="*/ 0 h 747379"/>
                  <a:gd name="connsiteX2" fmla="*/ 52133 w 52133"/>
                  <a:gd name="connsiteY2" fmla="*/ 358742 h 747379"/>
                  <a:gd name="connsiteX3" fmla="*/ 52133 w 52133"/>
                  <a:gd name="connsiteY3" fmla="*/ 747379 h 747379"/>
                  <a:gd name="connsiteX4" fmla="*/ 0 w 52133"/>
                  <a:gd name="connsiteY4" fmla="*/ 747379 h 747379"/>
                  <a:gd name="connsiteX5" fmla="*/ 0 w 52133"/>
                  <a:gd name="connsiteY5" fmla="*/ 381163 h 747379"/>
                  <a:gd name="connsiteX6" fmla="*/ 0 w 52133"/>
                  <a:gd name="connsiteY6" fmla="*/ 0 h 74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133" h="747379" fill="none" extrusionOk="0">
                    <a:moveTo>
                      <a:pt x="0" y="0"/>
                    </a:moveTo>
                    <a:cubicBezTo>
                      <a:pt x="15514" y="-9"/>
                      <a:pt x="39696" y="1574"/>
                      <a:pt x="52133" y="0"/>
                    </a:cubicBezTo>
                    <a:cubicBezTo>
                      <a:pt x="43868" y="94976"/>
                      <a:pt x="35619" y="202427"/>
                      <a:pt x="52133" y="358742"/>
                    </a:cubicBezTo>
                    <a:cubicBezTo>
                      <a:pt x="68647" y="515057"/>
                      <a:pt x="40261" y="627803"/>
                      <a:pt x="52133" y="747379"/>
                    </a:cubicBezTo>
                    <a:cubicBezTo>
                      <a:pt x="40366" y="749383"/>
                      <a:pt x="13905" y="749142"/>
                      <a:pt x="0" y="747379"/>
                    </a:cubicBezTo>
                    <a:cubicBezTo>
                      <a:pt x="-3795" y="651179"/>
                      <a:pt x="-8281" y="541977"/>
                      <a:pt x="0" y="381163"/>
                    </a:cubicBezTo>
                    <a:cubicBezTo>
                      <a:pt x="8281" y="220349"/>
                      <a:pt x="2958" y="134261"/>
                      <a:pt x="0" y="0"/>
                    </a:cubicBezTo>
                    <a:close/>
                  </a:path>
                  <a:path w="52133" h="747379" stroke="0" extrusionOk="0">
                    <a:moveTo>
                      <a:pt x="0" y="0"/>
                    </a:moveTo>
                    <a:cubicBezTo>
                      <a:pt x="21915" y="-657"/>
                      <a:pt x="39437" y="2072"/>
                      <a:pt x="52133" y="0"/>
                    </a:cubicBezTo>
                    <a:cubicBezTo>
                      <a:pt x="44811" y="79153"/>
                      <a:pt x="39733" y="222964"/>
                      <a:pt x="52133" y="351268"/>
                    </a:cubicBezTo>
                    <a:cubicBezTo>
                      <a:pt x="64533" y="479572"/>
                      <a:pt x="53646" y="558458"/>
                      <a:pt x="52133" y="747379"/>
                    </a:cubicBezTo>
                    <a:cubicBezTo>
                      <a:pt x="32839" y="746562"/>
                      <a:pt x="18810" y="747174"/>
                      <a:pt x="0" y="747379"/>
                    </a:cubicBezTo>
                    <a:cubicBezTo>
                      <a:pt x="11735" y="603052"/>
                      <a:pt x="-1673" y="530707"/>
                      <a:pt x="0" y="381163"/>
                    </a:cubicBezTo>
                    <a:cubicBezTo>
                      <a:pt x="1673" y="231619"/>
                      <a:pt x="-18569" y="91634"/>
                      <a:pt x="0" y="0"/>
                    </a:cubicBezTo>
                    <a:close/>
                  </a:path>
                </a:pathLst>
              </a:custGeom>
              <a:solidFill>
                <a:srgbClr val="C1C1C1"/>
              </a:solidFill>
              <a:ln>
                <a:solidFill>
                  <a:srgbClr val="C1C1C1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Up Arrow">
                <a:extLst>
                  <a:ext uri="{FF2B5EF4-FFF2-40B4-BE49-F238E27FC236}">
                    <a16:creationId xmlns:a16="http://schemas.microsoft.com/office/drawing/2014/main" id="{DB5B8CC1-F836-4290-95AA-F7F9355D3F5A}"/>
                  </a:ext>
                </a:extLst>
              </p:cNvPr>
              <p:cNvSpPr/>
              <p:nvPr/>
            </p:nvSpPr>
            <p:spPr>
              <a:xfrm>
                <a:off x="10518055" y="2519137"/>
                <a:ext cx="23990" cy="15993"/>
              </a:xfrm>
              <a:prstGeom prst="triangle">
                <a:avLst/>
              </a:prstGeom>
              <a:solidFill>
                <a:srgbClr val="BCBCB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7" name="Down Arrow">
                <a:extLst>
                  <a:ext uri="{FF2B5EF4-FFF2-40B4-BE49-F238E27FC236}">
                    <a16:creationId xmlns:a16="http://schemas.microsoft.com/office/drawing/2014/main" id="{F5A32C06-C2BE-47CD-BDBE-70FCBE9C5981}"/>
                  </a:ext>
                </a:extLst>
              </p:cNvPr>
              <p:cNvSpPr/>
              <p:nvPr/>
            </p:nvSpPr>
            <p:spPr>
              <a:xfrm flipH="1" flipV="1">
                <a:off x="10515680" y="6210432"/>
                <a:ext cx="23990" cy="15993"/>
              </a:xfrm>
              <a:prstGeom prst="triangle">
                <a:avLst/>
              </a:prstGeom>
              <a:solidFill>
                <a:srgbClr val="BCBCB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1" name="Tablet Placeholder" descr="A mockup of website interface on a tablet.">
              <a:extLst>
                <a:ext uri="{FF2B5EF4-FFF2-40B4-BE49-F238E27FC236}">
                  <a16:creationId xmlns:a16="http://schemas.microsoft.com/office/drawing/2014/main" id="{A6156678-3AC6-4D90-A255-3F887B5E827F}"/>
                </a:ext>
              </a:extLst>
            </p:cNvPr>
            <p:cNvGrpSpPr/>
            <p:nvPr/>
          </p:nvGrpSpPr>
          <p:grpSpPr>
            <a:xfrm rot="16200000">
              <a:off x="5666819" y="1099658"/>
              <a:ext cx="4453647" cy="6316453"/>
              <a:chOff x="4740346" y="2465294"/>
              <a:chExt cx="1802369" cy="2556237"/>
            </a:xfrm>
          </p:grpSpPr>
          <p:sp>
            <p:nvSpPr>
              <p:cNvPr id="53" name="Tablet Outline and Screen">
                <a:extLst>
                  <a:ext uri="{FF2B5EF4-FFF2-40B4-BE49-F238E27FC236}">
                    <a16:creationId xmlns:a16="http://schemas.microsoft.com/office/drawing/2014/main" id="{0E157B01-E326-4B6A-846C-38CE26F23935}"/>
                  </a:ext>
                </a:extLst>
              </p:cNvPr>
              <p:cNvSpPr/>
              <p:nvPr/>
            </p:nvSpPr>
            <p:spPr>
              <a:xfrm rot="5400000">
                <a:off x="4363640" y="2842456"/>
                <a:ext cx="2555781" cy="1802369"/>
              </a:xfrm>
              <a:custGeom>
                <a:avLst/>
                <a:gdLst>
                  <a:gd name="connsiteX0" fmla="*/ 98312 w 2555781"/>
                  <a:gd name="connsiteY0" fmla="*/ 1707597 h 1802369"/>
                  <a:gd name="connsiteX1" fmla="*/ 2354723 w 2555781"/>
                  <a:gd name="connsiteY1" fmla="*/ 1707597 h 1802369"/>
                  <a:gd name="connsiteX2" fmla="*/ 2354723 w 2555781"/>
                  <a:gd name="connsiteY2" fmla="*/ 94770 h 1802369"/>
                  <a:gd name="connsiteX3" fmla="*/ 98312 w 2555781"/>
                  <a:gd name="connsiteY3" fmla="*/ 94770 h 1802369"/>
                  <a:gd name="connsiteX4" fmla="*/ 0 w 2555781"/>
                  <a:gd name="connsiteY4" fmla="*/ 1732509 h 1802369"/>
                  <a:gd name="connsiteX5" fmla="*/ 0 w 2555781"/>
                  <a:gd name="connsiteY5" fmla="*/ 69860 h 1802369"/>
                  <a:gd name="connsiteX6" fmla="*/ 69860 w 2555781"/>
                  <a:gd name="connsiteY6" fmla="*/ 0 h 1802369"/>
                  <a:gd name="connsiteX7" fmla="*/ 2485921 w 2555781"/>
                  <a:gd name="connsiteY7" fmla="*/ 0 h 1802369"/>
                  <a:gd name="connsiteX8" fmla="*/ 2555781 w 2555781"/>
                  <a:gd name="connsiteY8" fmla="*/ 69860 h 1802369"/>
                  <a:gd name="connsiteX9" fmla="*/ 2555781 w 2555781"/>
                  <a:gd name="connsiteY9" fmla="*/ 1732509 h 1802369"/>
                  <a:gd name="connsiteX10" fmla="*/ 2485921 w 2555781"/>
                  <a:gd name="connsiteY10" fmla="*/ 1802369 h 1802369"/>
                  <a:gd name="connsiteX11" fmla="*/ 69860 w 2555781"/>
                  <a:gd name="connsiteY11" fmla="*/ 1802369 h 1802369"/>
                  <a:gd name="connsiteX12" fmla="*/ 0 w 2555781"/>
                  <a:gd name="connsiteY12" fmla="*/ 1732509 h 180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5781" h="1802369">
                    <a:moveTo>
                      <a:pt x="98312" y="1707597"/>
                    </a:moveTo>
                    <a:lnTo>
                      <a:pt x="2354723" y="1707597"/>
                    </a:lnTo>
                    <a:lnTo>
                      <a:pt x="2354723" y="94770"/>
                    </a:lnTo>
                    <a:lnTo>
                      <a:pt x="98312" y="94770"/>
                    </a:lnTo>
                    <a:close/>
                    <a:moveTo>
                      <a:pt x="0" y="1732509"/>
                    </a:moveTo>
                    <a:lnTo>
                      <a:pt x="0" y="69860"/>
                    </a:lnTo>
                    <a:cubicBezTo>
                      <a:pt x="0" y="31277"/>
                      <a:pt x="31277" y="0"/>
                      <a:pt x="69860" y="0"/>
                    </a:cubicBezTo>
                    <a:lnTo>
                      <a:pt x="2485921" y="0"/>
                    </a:lnTo>
                    <a:cubicBezTo>
                      <a:pt x="2524504" y="0"/>
                      <a:pt x="2555781" y="31277"/>
                      <a:pt x="2555781" y="69860"/>
                    </a:cubicBezTo>
                    <a:lnTo>
                      <a:pt x="2555781" y="1732509"/>
                    </a:lnTo>
                    <a:cubicBezTo>
                      <a:pt x="2555781" y="1771092"/>
                      <a:pt x="2524504" y="1802369"/>
                      <a:pt x="2485921" y="1802369"/>
                    </a:cubicBezTo>
                    <a:lnTo>
                      <a:pt x="69860" y="1802369"/>
                    </a:lnTo>
                    <a:cubicBezTo>
                      <a:pt x="31277" y="1802369"/>
                      <a:pt x="0" y="1771092"/>
                      <a:pt x="0" y="1732509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Tablet Home Button">
                <a:extLst>
                  <a:ext uri="{FF2B5EF4-FFF2-40B4-BE49-F238E27FC236}">
                    <a16:creationId xmlns:a16="http://schemas.microsoft.com/office/drawing/2014/main" id="{2D7CF243-70E0-4561-A3AF-E6EC36F03BA7}"/>
                  </a:ext>
                </a:extLst>
              </p:cNvPr>
              <p:cNvSpPr/>
              <p:nvPr/>
            </p:nvSpPr>
            <p:spPr>
              <a:xfrm rot="5400000">
                <a:off x="5573142" y="4850882"/>
                <a:ext cx="136777" cy="136777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Tablet Outline">
                <a:extLst>
                  <a:ext uri="{FF2B5EF4-FFF2-40B4-BE49-F238E27FC236}">
                    <a16:creationId xmlns:a16="http://schemas.microsoft.com/office/drawing/2014/main" id="{E16BF0FA-D098-4DF8-9EC5-D61AA326145C}"/>
                  </a:ext>
                </a:extLst>
              </p:cNvPr>
              <p:cNvSpPr/>
              <p:nvPr/>
            </p:nvSpPr>
            <p:spPr>
              <a:xfrm rot="5400000">
                <a:off x="4363640" y="2842000"/>
                <a:ext cx="2555781" cy="1802369"/>
              </a:xfrm>
              <a:prstGeom prst="roundRect">
                <a:avLst>
                  <a:gd name="adj" fmla="val 387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0" name="Mobile Device Outline" descr="A mockup of mobile interface on a phone.">
            <a:extLst>
              <a:ext uri="{FF2B5EF4-FFF2-40B4-BE49-F238E27FC236}">
                <a16:creationId xmlns:a16="http://schemas.microsoft.com/office/drawing/2014/main" id="{C3B8FC29-AC1D-4BA1-BD25-E531CF6C9787}"/>
              </a:ext>
            </a:extLst>
          </p:cNvPr>
          <p:cNvGrpSpPr/>
          <p:nvPr/>
        </p:nvGrpSpPr>
        <p:grpSpPr>
          <a:xfrm>
            <a:off x="1357224" y="2005431"/>
            <a:ext cx="2449955" cy="4490624"/>
            <a:chOff x="1357224" y="2005431"/>
            <a:chExt cx="2449955" cy="4490624"/>
          </a:xfrm>
        </p:grpSpPr>
        <p:grpSp>
          <p:nvGrpSpPr>
            <p:cNvPr id="138" name="Shopping Item 2">
              <a:extLst>
                <a:ext uri="{FF2B5EF4-FFF2-40B4-BE49-F238E27FC236}">
                  <a16:creationId xmlns:a16="http://schemas.microsoft.com/office/drawing/2014/main" id="{4304B016-4EC4-44EA-9122-B34B45265CB6}"/>
                </a:ext>
              </a:extLst>
            </p:cNvPr>
            <p:cNvGrpSpPr/>
            <p:nvPr/>
          </p:nvGrpSpPr>
          <p:grpSpPr>
            <a:xfrm>
              <a:off x="2652047" y="4448435"/>
              <a:ext cx="761896" cy="1504448"/>
              <a:chOff x="2652047" y="4448435"/>
              <a:chExt cx="761896" cy="1504448"/>
            </a:xfrm>
          </p:grpSpPr>
          <p:sp>
            <p:nvSpPr>
              <p:cNvPr id="112" name="Text Placeholder">
                <a:extLst>
                  <a:ext uri="{FF2B5EF4-FFF2-40B4-BE49-F238E27FC236}">
                    <a16:creationId xmlns:a16="http://schemas.microsoft.com/office/drawing/2014/main" id="{5EEBB435-5F68-4EAB-9B05-0AEBF335BEC0}"/>
                  </a:ext>
                </a:extLst>
              </p:cNvPr>
              <p:cNvSpPr txBox="1"/>
              <p:nvPr/>
            </p:nvSpPr>
            <p:spPr>
              <a:xfrm>
                <a:off x="2664399" y="5769277"/>
                <a:ext cx="712127" cy="18360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113" name="Tall Photo Placeholder">
                <a:extLst>
                  <a:ext uri="{FF2B5EF4-FFF2-40B4-BE49-F238E27FC236}">
                    <a16:creationId xmlns:a16="http://schemas.microsoft.com/office/drawing/2014/main" id="{BE20C875-9430-4EEF-9FD0-B4A73E50F80F}"/>
                  </a:ext>
                </a:extLst>
              </p:cNvPr>
              <p:cNvGrpSpPr/>
              <p:nvPr/>
            </p:nvGrpSpPr>
            <p:grpSpPr>
              <a:xfrm>
                <a:off x="2652047" y="4448435"/>
                <a:ext cx="761896" cy="1137546"/>
                <a:chOff x="5841594" y="4162695"/>
                <a:chExt cx="757401" cy="1025588"/>
              </a:xfrm>
            </p:grpSpPr>
            <p:sp>
              <p:nvSpPr>
                <p:cNvPr id="115" name="Image Placeholder">
                  <a:extLst>
                    <a:ext uri="{FF2B5EF4-FFF2-40B4-BE49-F238E27FC236}">
                      <a16:creationId xmlns:a16="http://schemas.microsoft.com/office/drawing/2014/main" id="{A1837A06-5AC6-4377-B69F-35E046536069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116" name="Person Icon" descr="User">
                  <a:extLst>
                    <a:ext uri="{FF2B5EF4-FFF2-40B4-BE49-F238E27FC236}">
                      <a16:creationId xmlns:a16="http://schemas.microsoft.com/office/drawing/2014/main" id="{BE88BEF1-F055-4FEE-BDD7-B63947DB9A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114" name="Highlighted Text">
                <a:extLst>
                  <a:ext uri="{FF2B5EF4-FFF2-40B4-BE49-F238E27FC236}">
                    <a16:creationId xmlns:a16="http://schemas.microsoft.com/office/drawing/2014/main" id="{F3D97E8E-1812-404C-898F-C8C87C2BDA27}"/>
                  </a:ext>
                </a:extLst>
              </p:cNvPr>
              <p:cNvSpPr txBox="1"/>
              <p:nvPr/>
            </p:nvSpPr>
            <p:spPr>
              <a:xfrm>
                <a:off x="2652047" y="5655472"/>
                <a:ext cx="442822" cy="79417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141" name="Shopping Item 1">
              <a:extLst>
                <a:ext uri="{FF2B5EF4-FFF2-40B4-BE49-F238E27FC236}">
                  <a16:creationId xmlns:a16="http://schemas.microsoft.com/office/drawing/2014/main" id="{4C7C74BB-A7FD-4A98-ACC5-4075D44D2C3E}"/>
                </a:ext>
              </a:extLst>
            </p:cNvPr>
            <p:cNvGrpSpPr/>
            <p:nvPr/>
          </p:nvGrpSpPr>
          <p:grpSpPr>
            <a:xfrm>
              <a:off x="1754945" y="4466233"/>
              <a:ext cx="761896" cy="1504448"/>
              <a:chOff x="1754945" y="4466233"/>
              <a:chExt cx="761896" cy="1504448"/>
            </a:xfrm>
          </p:grpSpPr>
          <p:sp>
            <p:nvSpPr>
              <p:cNvPr id="101" name="Text Placeholder">
                <a:extLst>
                  <a:ext uri="{FF2B5EF4-FFF2-40B4-BE49-F238E27FC236}">
                    <a16:creationId xmlns:a16="http://schemas.microsoft.com/office/drawing/2014/main" id="{347F1DA8-E231-445B-87CB-961351CB1E3B}"/>
                  </a:ext>
                </a:extLst>
              </p:cNvPr>
              <p:cNvSpPr txBox="1"/>
              <p:nvPr/>
            </p:nvSpPr>
            <p:spPr>
              <a:xfrm>
                <a:off x="1767297" y="5787075"/>
                <a:ext cx="712127" cy="18360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107" name="Tall Photo Placeholder">
                <a:extLst>
                  <a:ext uri="{FF2B5EF4-FFF2-40B4-BE49-F238E27FC236}">
                    <a16:creationId xmlns:a16="http://schemas.microsoft.com/office/drawing/2014/main" id="{8A9F7A36-E6DD-4A0E-812A-8123820A0B14}"/>
                  </a:ext>
                </a:extLst>
              </p:cNvPr>
              <p:cNvGrpSpPr/>
              <p:nvPr/>
            </p:nvGrpSpPr>
            <p:grpSpPr>
              <a:xfrm>
                <a:off x="1754945" y="4466233"/>
                <a:ext cx="761896" cy="1137546"/>
                <a:chOff x="5841594" y="4162695"/>
                <a:chExt cx="757401" cy="1025588"/>
              </a:xfrm>
            </p:grpSpPr>
            <p:sp>
              <p:nvSpPr>
                <p:cNvPr id="108" name="Image Placeholder">
                  <a:extLst>
                    <a:ext uri="{FF2B5EF4-FFF2-40B4-BE49-F238E27FC236}">
                      <a16:creationId xmlns:a16="http://schemas.microsoft.com/office/drawing/2014/main" id="{EF545625-7E5C-4BC3-BE65-42EFC6863F8E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109" name="Person Icon" descr="User">
                  <a:extLst>
                    <a:ext uri="{FF2B5EF4-FFF2-40B4-BE49-F238E27FC236}">
                      <a16:creationId xmlns:a16="http://schemas.microsoft.com/office/drawing/2014/main" id="{222574D0-1A8C-4220-80CC-2E5369693D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110" name="Highlighted Text">
                <a:extLst>
                  <a:ext uri="{FF2B5EF4-FFF2-40B4-BE49-F238E27FC236}">
                    <a16:creationId xmlns:a16="http://schemas.microsoft.com/office/drawing/2014/main" id="{B0E023B8-F0FC-482F-8A27-F0C47DD5A94F}"/>
                  </a:ext>
                </a:extLst>
              </p:cNvPr>
              <p:cNvSpPr txBox="1"/>
              <p:nvPr/>
            </p:nvSpPr>
            <p:spPr>
              <a:xfrm>
                <a:off x="1754945" y="5673270"/>
                <a:ext cx="442822" cy="79417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  <p:grpSp>
            <p:nvGrpSpPr>
              <p:cNvPr id="131" name="Quick Look Button">
                <a:extLst>
                  <a:ext uri="{FF2B5EF4-FFF2-40B4-BE49-F238E27FC236}">
                    <a16:creationId xmlns:a16="http://schemas.microsoft.com/office/drawing/2014/main" id="{E3E525C7-21D7-4EAB-A3DB-5042463A816A}"/>
                  </a:ext>
                </a:extLst>
              </p:cNvPr>
              <p:cNvGrpSpPr/>
              <p:nvPr/>
            </p:nvGrpSpPr>
            <p:grpSpPr>
              <a:xfrm>
                <a:off x="1848751" y="5187350"/>
                <a:ext cx="616878" cy="160183"/>
                <a:chOff x="1848751" y="5187350"/>
                <a:chExt cx="616878" cy="160183"/>
              </a:xfrm>
            </p:grpSpPr>
            <p:sp>
              <p:nvSpPr>
                <p:cNvPr id="118" name="Quick Look Placeholder">
                  <a:extLst>
                    <a:ext uri="{FF2B5EF4-FFF2-40B4-BE49-F238E27FC236}">
                      <a16:creationId xmlns:a16="http://schemas.microsoft.com/office/drawing/2014/main" id="{4F5AECD8-AFB1-4905-9D2B-5CEA9723426C}"/>
                    </a:ext>
                  </a:extLst>
                </p:cNvPr>
                <p:cNvSpPr/>
                <p:nvPr/>
              </p:nvSpPr>
              <p:spPr>
                <a:xfrm>
                  <a:off x="1848751" y="5187350"/>
                  <a:ext cx="616878" cy="160183"/>
                </a:xfrm>
                <a:prstGeom prst="roundRect">
                  <a:avLst>
                    <a:gd name="adj" fmla="val 5971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bg1">
                      <a:lumMod val="9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2024747198">
                        <a:custGeom>
                          <a:avLst/>
                          <a:gdLst>
                            <a:gd name="connsiteX0" fmla="*/ 0 w 1087393"/>
                            <a:gd name="connsiteY0" fmla="*/ 9720 h 222624"/>
                            <a:gd name="connsiteX1" fmla="*/ 9720 w 1087393"/>
                            <a:gd name="connsiteY1" fmla="*/ 0 h 222624"/>
                            <a:gd name="connsiteX2" fmla="*/ 522337 w 1087393"/>
                            <a:gd name="connsiteY2" fmla="*/ 0 h 222624"/>
                            <a:gd name="connsiteX3" fmla="*/ 1077673 w 1087393"/>
                            <a:gd name="connsiteY3" fmla="*/ 0 h 222624"/>
                            <a:gd name="connsiteX4" fmla="*/ 1087393 w 1087393"/>
                            <a:gd name="connsiteY4" fmla="*/ 9720 h 222624"/>
                            <a:gd name="connsiteX5" fmla="*/ 1087393 w 1087393"/>
                            <a:gd name="connsiteY5" fmla="*/ 212904 h 222624"/>
                            <a:gd name="connsiteX6" fmla="*/ 1077673 w 1087393"/>
                            <a:gd name="connsiteY6" fmla="*/ 222624 h 222624"/>
                            <a:gd name="connsiteX7" fmla="*/ 522337 w 1087393"/>
                            <a:gd name="connsiteY7" fmla="*/ 222624 h 222624"/>
                            <a:gd name="connsiteX8" fmla="*/ 9720 w 1087393"/>
                            <a:gd name="connsiteY8" fmla="*/ 222624 h 222624"/>
                            <a:gd name="connsiteX9" fmla="*/ 0 w 1087393"/>
                            <a:gd name="connsiteY9" fmla="*/ 212904 h 222624"/>
                            <a:gd name="connsiteX10" fmla="*/ 0 w 1087393"/>
                            <a:gd name="connsiteY10" fmla="*/ 9720 h 22262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1087393" h="222624" fill="none" extrusionOk="0">
                              <a:moveTo>
                                <a:pt x="0" y="9720"/>
                              </a:moveTo>
                              <a:cubicBezTo>
                                <a:pt x="60" y="3476"/>
                                <a:pt x="3747" y="1064"/>
                                <a:pt x="9720" y="0"/>
                              </a:cubicBezTo>
                              <a:cubicBezTo>
                                <a:pt x="136064" y="-4207"/>
                                <a:pt x="410953" y="-21449"/>
                                <a:pt x="522337" y="0"/>
                              </a:cubicBezTo>
                              <a:cubicBezTo>
                                <a:pt x="633721" y="21449"/>
                                <a:pt x="851849" y="13656"/>
                                <a:pt x="1077673" y="0"/>
                              </a:cubicBezTo>
                              <a:cubicBezTo>
                                <a:pt x="1082205" y="223"/>
                                <a:pt x="1087479" y="3398"/>
                                <a:pt x="1087393" y="9720"/>
                              </a:cubicBezTo>
                              <a:cubicBezTo>
                                <a:pt x="1082580" y="58902"/>
                                <a:pt x="1088751" y="143893"/>
                                <a:pt x="1087393" y="212904"/>
                              </a:cubicBezTo>
                              <a:cubicBezTo>
                                <a:pt x="1086895" y="219491"/>
                                <a:pt x="1083673" y="223688"/>
                                <a:pt x="1077673" y="222624"/>
                              </a:cubicBezTo>
                              <a:cubicBezTo>
                                <a:pt x="898233" y="210408"/>
                                <a:pt x="648669" y="242746"/>
                                <a:pt x="522337" y="222624"/>
                              </a:cubicBezTo>
                              <a:cubicBezTo>
                                <a:pt x="396005" y="202502"/>
                                <a:pt x="261719" y="230989"/>
                                <a:pt x="9720" y="222624"/>
                              </a:cubicBezTo>
                              <a:cubicBezTo>
                                <a:pt x="4359" y="223352"/>
                                <a:pt x="1104" y="217943"/>
                                <a:pt x="0" y="212904"/>
                              </a:cubicBezTo>
                              <a:cubicBezTo>
                                <a:pt x="10115" y="121888"/>
                                <a:pt x="-2116" y="106678"/>
                                <a:pt x="0" y="9720"/>
                              </a:cubicBezTo>
                              <a:close/>
                            </a:path>
                            <a:path w="1087393" h="222624" stroke="0" extrusionOk="0">
                              <a:moveTo>
                                <a:pt x="0" y="9720"/>
                              </a:moveTo>
                              <a:cubicBezTo>
                                <a:pt x="609" y="3201"/>
                                <a:pt x="3755" y="1152"/>
                                <a:pt x="9720" y="0"/>
                              </a:cubicBezTo>
                              <a:cubicBezTo>
                                <a:pt x="208498" y="-24618"/>
                                <a:pt x="301101" y="25266"/>
                                <a:pt x="554376" y="0"/>
                              </a:cubicBezTo>
                              <a:cubicBezTo>
                                <a:pt x="807651" y="-25266"/>
                                <a:pt x="882934" y="-2660"/>
                                <a:pt x="1077673" y="0"/>
                              </a:cubicBezTo>
                              <a:cubicBezTo>
                                <a:pt x="1083816" y="-217"/>
                                <a:pt x="1087815" y="4680"/>
                                <a:pt x="1087393" y="9720"/>
                              </a:cubicBezTo>
                              <a:cubicBezTo>
                                <a:pt x="1094347" y="110363"/>
                                <a:pt x="1088724" y="114396"/>
                                <a:pt x="1087393" y="212904"/>
                              </a:cubicBezTo>
                              <a:cubicBezTo>
                                <a:pt x="1086374" y="218130"/>
                                <a:pt x="1082853" y="222737"/>
                                <a:pt x="1077673" y="222624"/>
                              </a:cubicBezTo>
                              <a:cubicBezTo>
                                <a:pt x="878819" y="241731"/>
                                <a:pt x="756354" y="212666"/>
                                <a:pt x="522337" y="222624"/>
                              </a:cubicBezTo>
                              <a:cubicBezTo>
                                <a:pt x="288320" y="232582"/>
                                <a:pt x="180490" y="236260"/>
                                <a:pt x="9720" y="222624"/>
                              </a:cubicBezTo>
                              <a:cubicBezTo>
                                <a:pt x="4207" y="223205"/>
                                <a:pt x="-1195" y="218151"/>
                                <a:pt x="0" y="212904"/>
                              </a:cubicBezTo>
                              <a:cubicBezTo>
                                <a:pt x="-4823" y="150566"/>
                                <a:pt x="-4117" y="87626"/>
                                <a:pt x="0" y="9720"/>
                              </a:cubicBezTo>
                              <a:close/>
                            </a:path>
                          </a:pathLst>
                        </a:custGeom>
                        <ask:type>
                          <ask:lineSketchNone/>
                        </ask:type>
                        <ask:seed>2024747198</ask:seed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5720" rtlCol="0" anchor="ctr"/>
                <a:lstStyle/>
                <a:p>
                  <a:r>
                    <a:rPr lang="en-US" sz="75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Quick Look</a:t>
                  </a:r>
                </a:p>
              </p:txBody>
            </p:sp>
            <p:grpSp>
              <p:nvGrpSpPr>
                <p:cNvPr id="119" name="Arrow Icon">
                  <a:extLst>
                    <a:ext uri="{FF2B5EF4-FFF2-40B4-BE49-F238E27FC236}">
                      <a16:creationId xmlns:a16="http://schemas.microsoft.com/office/drawing/2014/main" id="{C54B9DB7-2B7C-46F7-8DE3-A0FA739FE06C}"/>
                    </a:ext>
                  </a:extLst>
                </p:cNvPr>
                <p:cNvGrpSpPr/>
                <p:nvPr/>
              </p:nvGrpSpPr>
              <p:grpSpPr>
                <a:xfrm rot="13229624">
                  <a:off x="2352405" y="5240676"/>
                  <a:ext cx="52637" cy="52635"/>
                  <a:chOff x="1403371" y="3116765"/>
                  <a:chExt cx="182879" cy="191528"/>
                </a:xfrm>
              </p:grpSpPr>
              <p:cxnSp>
                <p:nvCxnSpPr>
                  <p:cNvPr id="120" name="Line 2">
                    <a:extLst>
                      <a:ext uri="{FF2B5EF4-FFF2-40B4-BE49-F238E27FC236}">
                        <a16:creationId xmlns:a16="http://schemas.microsoft.com/office/drawing/2014/main" id="{EC37F16C-DC21-4519-A5A0-ABE1B150AF9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76520" y="3198562"/>
                    <a:ext cx="109730" cy="109731"/>
                  </a:xfrm>
                  <a:prstGeom prst="line">
                    <a:avLst/>
                  </a:prstGeom>
                  <a:ln w="9525" cap="rnd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Line 1">
                    <a:extLst>
                      <a:ext uri="{FF2B5EF4-FFF2-40B4-BE49-F238E27FC236}">
                        <a16:creationId xmlns:a16="http://schemas.microsoft.com/office/drawing/2014/main" id="{72FC9CD6-D231-4390-86F0-CA73030DB99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03371" y="3116765"/>
                    <a:ext cx="109728" cy="109728"/>
                  </a:xfrm>
                  <a:prstGeom prst="line">
                    <a:avLst/>
                  </a:prstGeom>
                  <a:ln w="9525" cap="rnd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147" name="Mobile Header Text">
              <a:extLst>
                <a:ext uri="{FF2B5EF4-FFF2-40B4-BE49-F238E27FC236}">
                  <a16:creationId xmlns:a16="http://schemas.microsoft.com/office/drawing/2014/main" id="{FA9C013F-D60E-4745-900B-456BCC75A000}"/>
                </a:ext>
              </a:extLst>
            </p:cNvPr>
            <p:cNvGrpSpPr/>
            <p:nvPr/>
          </p:nvGrpSpPr>
          <p:grpSpPr>
            <a:xfrm>
              <a:off x="1599744" y="3813799"/>
              <a:ext cx="1876013" cy="529869"/>
              <a:chOff x="1599744" y="3813799"/>
              <a:chExt cx="1876013" cy="529869"/>
            </a:xfrm>
          </p:grpSpPr>
          <p:grpSp>
            <p:nvGrpSpPr>
              <p:cNvPr id="129" name="Sort Text">
                <a:extLst>
                  <a:ext uri="{FF2B5EF4-FFF2-40B4-BE49-F238E27FC236}">
                    <a16:creationId xmlns:a16="http://schemas.microsoft.com/office/drawing/2014/main" id="{A1B59891-58F3-4289-92C8-1B04A0519080}"/>
                  </a:ext>
                </a:extLst>
              </p:cNvPr>
              <p:cNvGrpSpPr/>
              <p:nvPr/>
            </p:nvGrpSpPr>
            <p:grpSpPr>
              <a:xfrm>
                <a:off x="2719512" y="3813799"/>
                <a:ext cx="756245" cy="122213"/>
                <a:chOff x="2719512" y="3813799"/>
                <a:chExt cx="756245" cy="122213"/>
              </a:xfrm>
            </p:grpSpPr>
            <p:grpSp>
              <p:nvGrpSpPr>
                <p:cNvPr id="170" name="Sort Dropdown">
                  <a:extLst>
                    <a:ext uri="{FF2B5EF4-FFF2-40B4-BE49-F238E27FC236}">
                      <a16:creationId xmlns:a16="http://schemas.microsoft.com/office/drawing/2014/main" id="{DEC8ED28-D8A3-4F26-A9CC-9C8B095ACDFD}"/>
                    </a:ext>
                  </a:extLst>
                </p:cNvPr>
                <p:cNvGrpSpPr/>
                <p:nvPr/>
              </p:nvGrpSpPr>
              <p:grpSpPr>
                <a:xfrm rot="18629624">
                  <a:off x="3435452" y="3857044"/>
                  <a:ext cx="40305" cy="40305"/>
                  <a:chOff x="1411369" y="3109610"/>
                  <a:chExt cx="182868" cy="191529"/>
                </a:xfrm>
              </p:grpSpPr>
              <p:cxnSp>
                <p:nvCxnSpPr>
                  <p:cNvPr id="171" name="Line 2">
                    <a:extLst>
                      <a:ext uri="{FF2B5EF4-FFF2-40B4-BE49-F238E27FC236}">
                        <a16:creationId xmlns:a16="http://schemas.microsoft.com/office/drawing/2014/main" id="{38CF9925-50BF-48E3-BE43-88C858168E9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0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2" name="Line 1">
                    <a:extLst>
                      <a:ext uri="{FF2B5EF4-FFF2-40B4-BE49-F238E27FC236}">
                        <a16:creationId xmlns:a16="http://schemas.microsoft.com/office/drawing/2014/main" id="{FF4E85EF-0C65-49CF-9F41-C6FD0263649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0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69" name="Sort by Newest Text">
                  <a:extLst>
                    <a:ext uri="{FF2B5EF4-FFF2-40B4-BE49-F238E27FC236}">
                      <a16:creationId xmlns:a16="http://schemas.microsoft.com/office/drawing/2014/main" id="{4448D3FB-7CDD-45A0-BC14-ABFA0A687781}"/>
                    </a:ext>
                  </a:extLst>
                </p:cNvPr>
                <p:cNvSpPr txBox="1"/>
                <p:nvPr/>
              </p:nvSpPr>
              <p:spPr>
                <a:xfrm>
                  <a:off x="2719512" y="3813799"/>
                  <a:ext cx="659620" cy="12221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r">
                    <a:lnSpc>
                      <a:spcPct val="110000"/>
                    </a:lnSpc>
                  </a:pPr>
                  <a:r>
                    <a:rPr lang="en-US" sz="760" dirty="0">
                      <a:solidFill>
                        <a:srgbClr val="000000"/>
                      </a:solidFill>
                    </a:rPr>
                    <a:t>Sort: Newest</a:t>
                  </a:r>
                </a:p>
              </p:txBody>
            </p:sp>
          </p:grpSp>
          <p:sp>
            <p:nvSpPr>
              <p:cNvPr id="173" name="Clear Filters Text">
                <a:extLst>
                  <a:ext uri="{FF2B5EF4-FFF2-40B4-BE49-F238E27FC236}">
                    <a16:creationId xmlns:a16="http://schemas.microsoft.com/office/drawing/2014/main" id="{6916F0C9-A208-47BF-972D-86058FED2103}"/>
                  </a:ext>
                </a:extLst>
              </p:cNvPr>
              <p:cNvSpPr txBox="1"/>
              <p:nvPr/>
            </p:nvSpPr>
            <p:spPr>
              <a:xfrm>
                <a:off x="1599744" y="3869069"/>
                <a:ext cx="659620" cy="10310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650" b="1" dirty="0">
                    <a:solidFill>
                      <a:srgbClr val="13500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LEAR FILTERS</a:t>
                </a:r>
              </a:p>
            </p:txBody>
          </p:sp>
          <p:sp>
            <p:nvSpPr>
              <p:cNvPr id="178" name="Website Subtitle">
                <a:extLst>
                  <a:ext uri="{FF2B5EF4-FFF2-40B4-BE49-F238E27FC236}">
                    <a16:creationId xmlns:a16="http://schemas.microsoft.com/office/drawing/2014/main" id="{C04D812C-E437-4133-86D8-1A5BA85A3946}"/>
                  </a:ext>
                </a:extLst>
              </p:cNvPr>
              <p:cNvSpPr txBox="1"/>
              <p:nvPr/>
            </p:nvSpPr>
            <p:spPr>
              <a:xfrm>
                <a:off x="2002081" y="4257875"/>
                <a:ext cx="1162351" cy="857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50" dirty="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Viewing 1-50 of 844 results</a:t>
                </a:r>
              </a:p>
            </p:txBody>
          </p:sp>
          <p:sp>
            <p:nvSpPr>
              <p:cNvPr id="177" name="Website Title">
                <a:extLst>
                  <a:ext uri="{FF2B5EF4-FFF2-40B4-BE49-F238E27FC236}">
                    <a16:creationId xmlns:a16="http://schemas.microsoft.com/office/drawing/2014/main" id="{B6EF587D-7D60-48A8-B2D1-57EC2CCEA31F}"/>
                  </a:ext>
                </a:extLst>
              </p:cNvPr>
              <p:cNvSpPr txBox="1"/>
              <p:nvPr/>
            </p:nvSpPr>
            <p:spPr>
              <a:xfrm>
                <a:off x="1751975" y="4082289"/>
                <a:ext cx="1661968" cy="1560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980" dirty="0">
                    <a:solidFill>
                      <a:srgbClr val="000000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ll Contoso Products</a:t>
                </a:r>
              </a:p>
            </p:txBody>
          </p:sp>
        </p:grpSp>
        <p:grpSp>
          <p:nvGrpSpPr>
            <p:cNvPr id="39" name="Filter Option">
              <a:extLst>
                <a:ext uri="{FF2B5EF4-FFF2-40B4-BE49-F238E27FC236}">
                  <a16:creationId xmlns:a16="http://schemas.microsoft.com/office/drawing/2014/main" id="{4CC5A0FA-47F4-4968-8045-42BC5EC38658}"/>
                </a:ext>
              </a:extLst>
            </p:cNvPr>
            <p:cNvGrpSpPr/>
            <p:nvPr/>
          </p:nvGrpSpPr>
          <p:grpSpPr>
            <a:xfrm>
              <a:off x="1591166" y="3593904"/>
              <a:ext cx="676776" cy="229747"/>
              <a:chOff x="1158499" y="3029184"/>
              <a:chExt cx="767676" cy="260605"/>
            </a:xfrm>
          </p:grpSpPr>
          <p:sp>
            <p:nvSpPr>
              <p:cNvPr id="161" name="Filter Option Text and Box">
                <a:extLst>
                  <a:ext uri="{FF2B5EF4-FFF2-40B4-BE49-F238E27FC236}">
                    <a16:creationId xmlns:a16="http://schemas.microsoft.com/office/drawing/2014/main" id="{BC3384CA-9CB9-45E0-8BDD-5D8EB36DFD1D}"/>
                  </a:ext>
                </a:extLst>
              </p:cNvPr>
              <p:cNvSpPr/>
              <p:nvPr/>
            </p:nvSpPr>
            <p:spPr>
              <a:xfrm>
                <a:off x="1158499" y="3029184"/>
                <a:ext cx="767676" cy="260605"/>
              </a:xfrm>
              <a:custGeom>
                <a:avLst/>
                <a:gdLst>
                  <a:gd name="connsiteX0" fmla="*/ 0 w 767676"/>
                  <a:gd name="connsiteY0" fmla="*/ 15561 h 260605"/>
                  <a:gd name="connsiteX1" fmla="*/ 15561 w 767676"/>
                  <a:gd name="connsiteY1" fmla="*/ 0 h 260605"/>
                  <a:gd name="connsiteX2" fmla="*/ 369107 w 767676"/>
                  <a:gd name="connsiteY2" fmla="*/ 0 h 260605"/>
                  <a:gd name="connsiteX3" fmla="*/ 752115 w 767676"/>
                  <a:gd name="connsiteY3" fmla="*/ 0 h 260605"/>
                  <a:gd name="connsiteX4" fmla="*/ 767676 w 767676"/>
                  <a:gd name="connsiteY4" fmla="*/ 15561 h 260605"/>
                  <a:gd name="connsiteX5" fmla="*/ 767676 w 767676"/>
                  <a:gd name="connsiteY5" fmla="*/ 245044 h 260605"/>
                  <a:gd name="connsiteX6" fmla="*/ 752115 w 767676"/>
                  <a:gd name="connsiteY6" fmla="*/ 260605 h 260605"/>
                  <a:gd name="connsiteX7" fmla="*/ 369107 w 767676"/>
                  <a:gd name="connsiteY7" fmla="*/ 260605 h 260605"/>
                  <a:gd name="connsiteX8" fmla="*/ 15561 w 767676"/>
                  <a:gd name="connsiteY8" fmla="*/ 260605 h 260605"/>
                  <a:gd name="connsiteX9" fmla="*/ 0 w 767676"/>
                  <a:gd name="connsiteY9" fmla="*/ 245044 h 260605"/>
                  <a:gd name="connsiteX10" fmla="*/ 0 w 767676"/>
                  <a:gd name="connsiteY10" fmla="*/ 15561 h 260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67676" h="260605" fill="none" extrusionOk="0">
                    <a:moveTo>
                      <a:pt x="0" y="15561"/>
                    </a:moveTo>
                    <a:cubicBezTo>
                      <a:pt x="112" y="5328"/>
                      <a:pt x="6483" y="851"/>
                      <a:pt x="15561" y="0"/>
                    </a:cubicBezTo>
                    <a:cubicBezTo>
                      <a:pt x="133738" y="-7432"/>
                      <a:pt x="216528" y="-3432"/>
                      <a:pt x="369107" y="0"/>
                    </a:cubicBezTo>
                    <a:cubicBezTo>
                      <a:pt x="521686" y="3432"/>
                      <a:pt x="644378" y="-7762"/>
                      <a:pt x="752115" y="0"/>
                    </a:cubicBezTo>
                    <a:cubicBezTo>
                      <a:pt x="759394" y="350"/>
                      <a:pt x="767758" y="6058"/>
                      <a:pt x="767676" y="15561"/>
                    </a:cubicBezTo>
                    <a:cubicBezTo>
                      <a:pt x="761434" y="88415"/>
                      <a:pt x="761004" y="140158"/>
                      <a:pt x="767676" y="245044"/>
                    </a:cubicBezTo>
                    <a:cubicBezTo>
                      <a:pt x="767550" y="253945"/>
                      <a:pt x="760972" y="261048"/>
                      <a:pt x="752115" y="260605"/>
                    </a:cubicBezTo>
                    <a:cubicBezTo>
                      <a:pt x="561063" y="262214"/>
                      <a:pt x="499765" y="265849"/>
                      <a:pt x="369107" y="260605"/>
                    </a:cubicBezTo>
                    <a:cubicBezTo>
                      <a:pt x="238449" y="255361"/>
                      <a:pt x="155484" y="260140"/>
                      <a:pt x="15561" y="260605"/>
                    </a:cubicBezTo>
                    <a:cubicBezTo>
                      <a:pt x="6971" y="260975"/>
                      <a:pt x="1725" y="253124"/>
                      <a:pt x="0" y="245044"/>
                    </a:cubicBezTo>
                    <a:cubicBezTo>
                      <a:pt x="-7888" y="150434"/>
                      <a:pt x="-5515" y="127971"/>
                      <a:pt x="0" y="15561"/>
                    </a:cubicBezTo>
                    <a:close/>
                  </a:path>
                  <a:path w="767676" h="260605" stroke="0" extrusionOk="0">
                    <a:moveTo>
                      <a:pt x="0" y="15561"/>
                    </a:moveTo>
                    <a:cubicBezTo>
                      <a:pt x="996" y="5084"/>
                      <a:pt x="6688" y="539"/>
                      <a:pt x="15561" y="0"/>
                    </a:cubicBezTo>
                    <a:cubicBezTo>
                      <a:pt x="130033" y="16377"/>
                      <a:pt x="262722" y="-8893"/>
                      <a:pt x="391204" y="0"/>
                    </a:cubicBezTo>
                    <a:cubicBezTo>
                      <a:pt x="519686" y="8893"/>
                      <a:pt x="575818" y="226"/>
                      <a:pt x="752115" y="0"/>
                    </a:cubicBezTo>
                    <a:cubicBezTo>
                      <a:pt x="761028" y="-89"/>
                      <a:pt x="768342" y="7484"/>
                      <a:pt x="767676" y="15561"/>
                    </a:cubicBezTo>
                    <a:cubicBezTo>
                      <a:pt x="777480" y="115381"/>
                      <a:pt x="771694" y="143756"/>
                      <a:pt x="767676" y="245044"/>
                    </a:cubicBezTo>
                    <a:cubicBezTo>
                      <a:pt x="767374" y="253596"/>
                      <a:pt x="759335" y="261432"/>
                      <a:pt x="752115" y="260605"/>
                    </a:cubicBezTo>
                    <a:cubicBezTo>
                      <a:pt x="597759" y="256222"/>
                      <a:pt x="528139" y="243591"/>
                      <a:pt x="369107" y="260605"/>
                    </a:cubicBezTo>
                    <a:cubicBezTo>
                      <a:pt x="210075" y="277619"/>
                      <a:pt x="163702" y="255449"/>
                      <a:pt x="15561" y="260605"/>
                    </a:cubicBezTo>
                    <a:cubicBezTo>
                      <a:pt x="6727" y="261571"/>
                      <a:pt x="-784" y="253559"/>
                      <a:pt x="0" y="245044"/>
                    </a:cubicBezTo>
                    <a:cubicBezTo>
                      <a:pt x="4506" y="145876"/>
                      <a:pt x="8984" y="111849"/>
                      <a:pt x="0" y="15561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solidFill>
                  <a:schemeClr val="bg1">
                    <a:lumMod val="95000"/>
                    <a:alpha val="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ilter Option</a:t>
                </a:r>
              </a:p>
            </p:txBody>
          </p:sp>
          <p:sp>
            <p:nvSpPr>
              <p:cNvPr id="162" name="Delete Icon">
                <a:extLst>
                  <a:ext uri="{FF2B5EF4-FFF2-40B4-BE49-F238E27FC236}">
                    <a16:creationId xmlns:a16="http://schemas.microsoft.com/office/drawing/2014/main" id="{4B7C5A56-E24F-4B2F-B7EF-74181D2F904C}"/>
                  </a:ext>
                </a:extLst>
              </p:cNvPr>
              <p:cNvSpPr/>
              <p:nvPr/>
            </p:nvSpPr>
            <p:spPr>
              <a:xfrm rot="16200000">
                <a:off x="1741551" y="3082213"/>
                <a:ext cx="154545" cy="154545"/>
              </a:xfrm>
              <a:prstGeom prst="mathMultiply">
                <a:avLst>
                  <a:gd name="adj1" fmla="val 5770"/>
                </a:avLst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0" name="Filters Dropdown">
              <a:extLst>
                <a:ext uri="{FF2B5EF4-FFF2-40B4-BE49-F238E27FC236}">
                  <a16:creationId xmlns:a16="http://schemas.microsoft.com/office/drawing/2014/main" id="{2FE04AC0-AD75-4810-A53A-BF59DE0D6677}"/>
                </a:ext>
              </a:extLst>
            </p:cNvPr>
            <p:cNvGrpSpPr/>
            <p:nvPr/>
          </p:nvGrpSpPr>
          <p:grpSpPr>
            <a:xfrm>
              <a:off x="1593140" y="3277720"/>
              <a:ext cx="1267698" cy="249421"/>
              <a:chOff x="1593140" y="3277720"/>
              <a:chExt cx="1267698" cy="249421"/>
            </a:xfrm>
          </p:grpSpPr>
          <p:sp>
            <p:nvSpPr>
              <p:cNvPr id="164" name="Filter Placeholder Box">
                <a:extLst>
                  <a:ext uri="{FF2B5EF4-FFF2-40B4-BE49-F238E27FC236}">
                    <a16:creationId xmlns:a16="http://schemas.microsoft.com/office/drawing/2014/main" id="{806A9231-FB5E-4E94-8017-FF616C0614F9}"/>
                  </a:ext>
                </a:extLst>
              </p:cNvPr>
              <p:cNvSpPr/>
              <p:nvPr/>
            </p:nvSpPr>
            <p:spPr>
              <a:xfrm>
                <a:off x="1593140" y="3277720"/>
                <a:ext cx="1267698" cy="249421"/>
              </a:xfrm>
              <a:custGeom>
                <a:avLst/>
                <a:gdLst>
                  <a:gd name="connsiteX0" fmla="*/ 0 w 1267698"/>
                  <a:gd name="connsiteY0" fmla="*/ 14893 h 249421"/>
                  <a:gd name="connsiteX1" fmla="*/ 14893 w 1267698"/>
                  <a:gd name="connsiteY1" fmla="*/ 0 h 249421"/>
                  <a:gd name="connsiteX2" fmla="*/ 609091 w 1267698"/>
                  <a:gd name="connsiteY2" fmla="*/ 0 h 249421"/>
                  <a:gd name="connsiteX3" fmla="*/ 1252805 w 1267698"/>
                  <a:gd name="connsiteY3" fmla="*/ 0 h 249421"/>
                  <a:gd name="connsiteX4" fmla="*/ 1267698 w 1267698"/>
                  <a:gd name="connsiteY4" fmla="*/ 14893 h 249421"/>
                  <a:gd name="connsiteX5" fmla="*/ 1267698 w 1267698"/>
                  <a:gd name="connsiteY5" fmla="*/ 234528 h 249421"/>
                  <a:gd name="connsiteX6" fmla="*/ 1252805 w 1267698"/>
                  <a:gd name="connsiteY6" fmla="*/ 249421 h 249421"/>
                  <a:gd name="connsiteX7" fmla="*/ 609091 w 1267698"/>
                  <a:gd name="connsiteY7" fmla="*/ 249421 h 249421"/>
                  <a:gd name="connsiteX8" fmla="*/ 14893 w 1267698"/>
                  <a:gd name="connsiteY8" fmla="*/ 249421 h 249421"/>
                  <a:gd name="connsiteX9" fmla="*/ 0 w 1267698"/>
                  <a:gd name="connsiteY9" fmla="*/ 234528 h 249421"/>
                  <a:gd name="connsiteX10" fmla="*/ 0 w 1267698"/>
                  <a:gd name="connsiteY10" fmla="*/ 14893 h 249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67698" h="249421" fill="none" extrusionOk="0">
                    <a:moveTo>
                      <a:pt x="0" y="14893"/>
                    </a:moveTo>
                    <a:cubicBezTo>
                      <a:pt x="139" y="4624"/>
                      <a:pt x="6558" y="194"/>
                      <a:pt x="14893" y="0"/>
                    </a:cubicBezTo>
                    <a:cubicBezTo>
                      <a:pt x="275337" y="-18723"/>
                      <a:pt x="482852" y="2511"/>
                      <a:pt x="609091" y="0"/>
                    </a:cubicBezTo>
                    <a:cubicBezTo>
                      <a:pt x="735330" y="-2511"/>
                      <a:pt x="1037634" y="9407"/>
                      <a:pt x="1252805" y="0"/>
                    </a:cubicBezTo>
                    <a:cubicBezTo>
                      <a:pt x="1259929" y="293"/>
                      <a:pt x="1267767" y="5904"/>
                      <a:pt x="1267698" y="14893"/>
                    </a:cubicBezTo>
                    <a:cubicBezTo>
                      <a:pt x="1263100" y="93018"/>
                      <a:pt x="1272742" y="172349"/>
                      <a:pt x="1267698" y="234528"/>
                    </a:cubicBezTo>
                    <a:cubicBezTo>
                      <a:pt x="1266936" y="244617"/>
                      <a:pt x="1261761" y="250652"/>
                      <a:pt x="1252805" y="249421"/>
                    </a:cubicBezTo>
                    <a:cubicBezTo>
                      <a:pt x="959896" y="243288"/>
                      <a:pt x="854067" y="263421"/>
                      <a:pt x="609091" y="249421"/>
                    </a:cubicBezTo>
                    <a:cubicBezTo>
                      <a:pt x="364115" y="235421"/>
                      <a:pt x="196985" y="230076"/>
                      <a:pt x="14893" y="249421"/>
                    </a:cubicBezTo>
                    <a:cubicBezTo>
                      <a:pt x="6686" y="251236"/>
                      <a:pt x="355" y="242647"/>
                      <a:pt x="0" y="234528"/>
                    </a:cubicBezTo>
                    <a:cubicBezTo>
                      <a:pt x="-8531" y="150368"/>
                      <a:pt x="5840" y="75555"/>
                      <a:pt x="0" y="14893"/>
                    </a:cubicBezTo>
                    <a:close/>
                  </a:path>
                  <a:path w="1267698" h="249421" stroke="0" extrusionOk="0">
                    <a:moveTo>
                      <a:pt x="0" y="14893"/>
                    </a:moveTo>
                    <a:cubicBezTo>
                      <a:pt x="698" y="5349"/>
                      <a:pt x="6050" y="1193"/>
                      <a:pt x="14893" y="0"/>
                    </a:cubicBezTo>
                    <a:cubicBezTo>
                      <a:pt x="283976" y="22796"/>
                      <a:pt x="484849" y="-2258"/>
                      <a:pt x="646228" y="0"/>
                    </a:cubicBezTo>
                    <a:cubicBezTo>
                      <a:pt x="807608" y="2258"/>
                      <a:pt x="949715" y="21470"/>
                      <a:pt x="1252805" y="0"/>
                    </a:cubicBezTo>
                    <a:cubicBezTo>
                      <a:pt x="1261771" y="-207"/>
                      <a:pt x="1268493" y="7285"/>
                      <a:pt x="1267698" y="14893"/>
                    </a:cubicBezTo>
                    <a:cubicBezTo>
                      <a:pt x="1270961" y="90368"/>
                      <a:pt x="1269859" y="138279"/>
                      <a:pt x="1267698" y="234528"/>
                    </a:cubicBezTo>
                    <a:cubicBezTo>
                      <a:pt x="1266339" y="242564"/>
                      <a:pt x="1260524" y="249726"/>
                      <a:pt x="1252805" y="249421"/>
                    </a:cubicBezTo>
                    <a:cubicBezTo>
                      <a:pt x="947997" y="264170"/>
                      <a:pt x="903873" y="230360"/>
                      <a:pt x="609091" y="249421"/>
                    </a:cubicBezTo>
                    <a:cubicBezTo>
                      <a:pt x="314309" y="268482"/>
                      <a:pt x="308927" y="253459"/>
                      <a:pt x="14893" y="249421"/>
                    </a:cubicBezTo>
                    <a:cubicBezTo>
                      <a:pt x="6611" y="249650"/>
                      <a:pt x="-1489" y="242603"/>
                      <a:pt x="0" y="234528"/>
                    </a:cubicBezTo>
                    <a:cubicBezTo>
                      <a:pt x="4560" y="153223"/>
                      <a:pt x="3547" y="107436"/>
                      <a:pt x="0" y="14893"/>
                    </a:cubicBezTo>
                    <a:close/>
                  </a:path>
                </a:pathLst>
              </a:custGeom>
              <a:solidFill>
                <a:srgbClr val="F1F1F1"/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8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       </a:t>
                </a:r>
                <a:r>
                  <a:rPr lang="en-US" sz="850" b="1" dirty="0">
                    <a:solidFill>
                      <a:srgbClr val="2F2F2F"/>
                    </a:solidFill>
                  </a:rPr>
                  <a:t>Collection &amp; Filters</a:t>
                </a:r>
              </a:p>
            </p:txBody>
          </p:sp>
          <p:grpSp>
            <p:nvGrpSpPr>
              <p:cNvPr id="165" name="Dropdown Icon">
                <a:extLst>
                  <a:ext uri="{FF2B5EF4-FFF2-40B4-BE49-F238E27FC236}">
                    <a16:creationId xmlns:a16="http://schemas.microsoft.com/office/drawing/2014/main" id="{A0E197FD-260E-4CA3-9AAF-98A27CAA6C69}"/>
                  </a:ext>
                </a:extLst>
              </p:cNvPr>
              <p:cNvGrpSpPr/>
              <p:nvPr/>
            </p:nvGrpSpPr>
            <p:grpSpPr>
              <a:xfrm rot="13229624">
                <a:off x="1678078" y="3360662"/>
                <a:ext cx="93784" cy="81757"/>
                <a:chOff x="1440759" y="3084143"/>
                <a:chExt cx="178179" cy="191055"/>
              </a:xfrm>
            </p:grpSpPr>
            <p:cxnSp>
              <p:nvCxnSpPr>
                <p:cNvPr id="166" name="Line 2">
                  <a:extLst>
                    <a:ext uri="{FF2B5EF4-FFF2-40B4-BE49-F238E27FC236}">
                      <a16:creationId xmlns:a16="http://schemas.microsoft.com/office/drawing/2014/main" id="{64474C29-4A40-47CB-8171-8B6EBFA6F58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509209" y="3165469"/>
                  <a:ext cx="109729" cy="109729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7" name="Line 1">
                  <a:extLst>
                    <a:ext uri="{FF2B5EF4-FFF2-40B4-BE49-F238E27FC236}">
                      <a16:creationId xmlns:a16="http://schemas.microsoft.com/office/drawing/2014/main" id="{75581E8A-349B-4F1F-9D66-9E644E9101D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40759" y="3084143"/>
                  <a:ext cx="109729" cy="109730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22" name="Xbox Logo">
              <a:extLst>
                <a:ext uri="{FF2B5EF4-FFF2-40B4-BE49-F238E27FC236}">
                  <a16:creationId xmlns:a16="http://schemas.microsoft.com/office/drawing/2014/main" id="{599AE37F-0A92-495D-B7A5-F333F35767E9}"/>
                </a:ext>
              </a:extLst>
            </p:cNvPr>
            <p:cNvGrpSpPr/>
            <p:nvPr/>
          </p:nvGrpSpPr>
          <p:grpSpPr>
            <a:xfrm>
              <a:off x="1596170" y="3106415"/>
              <a:ext cx="449309" cy="85793"/>
              <a:chOff x="1596170" y="3106415"/>
              <a:chExt cx="449309" cy="85793"/>
            </a:xfrm>
          </p:grpSpPr>
          <p:grpSp>
            <p:nvGrpSpPr>
              <p:cNvPr id="174" name="Xbox Dropdown Icon">
                <a:extLst>
                  <a:ext uri="{FF2B5EF4-FFF2-40B4-BE49-F238E27FC236}">
                    <a16:creationId xmlns:a16="http://schemas.microsoft.com/office/drawing/2014/main" id="{AFE1782F-115A-4208-AEDC-407A024AC295}"/>
                  </a:ext>
                </a:extLst>
              </p:cNvPr>
              <p:cNvGrpSpPr/>
              <p:nvPr/>
            </p:nvGrpSpPr>
            <p:grpSpPr>
              <a:xfrm rot="18629624">
                <a:off x="1997316" y="3140913"/>
                <a:ext cx="48159" cy="48167"/>
                <a:chOff x="1436802" y="3086869"/>
                <a:chExt cx="182849" cy="191541"/>
              </a:xfrm>
            </p:grpSpPr>
            <p:cxnSp>
              <p:nvCxnSpPr>
                <p:cNvPr id="175" name="Line 2">
                  <a:extLst>
                    <a:ext uri="{FF2B5EF4-FFF2-40B4-BE49-F238E27FC236}">
                      <a16:creationId xmlns:a16="http://schemas.microsoft.com/office/drawing/2014/main" id="{AC8E8B4D-9772-4145-8C89-C36B247D997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509919" y="3168680"/>
                  <a:ext cx="109732" cy="109730"/>
                </a:xfrm>
                <a:prstGeom prst="line">
                  <a:avLst/>
                </a:prstGeom>
                <a:ln w="6350" cap="rnd">
                  <a:solidFill>
                    <a:srgbClr val="4E4E4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Line 1">
                  <a:extLst>
                    <a:ext uri="{FF2B5EF4-FFF2-40B4-BE49-F238E27FC236}">
                      <a16:creationId xmlns:a16="http://schemas.microsoft.com/office/drawing/2014/main" id="{3962BA42-83A3-4EB4-AD9B-9EB2C978CA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36802" y="3086869"/>
                  <a:ext cx="109731" cy="109733"/>
                </a:xfrm>
                <a:prstGeom prst="line">
                  <a:avLst/>
                </a:prstGeom>
                <a:ln w="6350" cap="rnd">
                  <a:solidFill>
                    <a:srgbClr val="4E4E4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3" name="Xbox Text Placeholder">
                <a:extLst>
                  <a:ext uri="{FF2B5EF4-FFF2-40B4-BE49-F238E27FC236}">
                    <a16:creationId xmlns:a16="http://schemas.microsoft.com/office/drawing/2014/main" id="{5EC78322-CFB8-4ACE-8E59-8B0FA39284A3}"/>
                  </a:ext>
                </a:extLst>
              </p:cNvPr>
              <p:cNvSpPr txBox="1"/>
              <p:nvPr/>
            </p:nvSpPr>
            <p:spPr>
              <a:xfrm>
                <a:off x="1596170" y="3106415"/>
                <a:ext cx="348033" cy="857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550" dirty="0">
                    <a:solidFill>
                      <a:srgbClr val="555555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ONTOSO</a:t>
                </a:r>
              </a:p>
            </p:txBody>
          </p:sp>
        </p:grpSp>
        <p:grpSp>
          <p:nvGrpSpPr>
            <p:cNvPr id="156" name="Mobile Site Header">
              <a:extLst>
                <a:ext uri="{FF2B5EF4-FFF2-40B4-BE49-F238E27FC236}">
                  <a16:creationId xmlns:a16="http://schemas.microsoft.com/office/drawing/2014/main" id="{7DFD9F81-105B-4693-8BAA-FB786F8D8AC5}"/>
                </a:ext>
              </a:extLst>
            </p:cNvPr>
            <p:cNvGrpSpPr/>
            <p:nvPr/>
          </p:nvGrpSpPr>
          <p:grpSpPr>
            <a:xfrm>
              <a:off x="1469622" y="2841972"/>
              <a:ext cx="2231136" cy="213666"/>
              <a:chOff x="1469622" y="2841972"/>
              <a:chExt cx="2231136" cy="213666"/>
            </a:xfrm>
          </p:grpSpPr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A5740E0B-0C9D-47BD-9D67-4F6BD6341397}"/>
                  </a:ext>
                </a:extLst>
              </p:cNvPr>
              <p:cNvSpPr/>
              <p:nvPr/>
            </p:nvSpPr>
            <p:spPr>
              <a:xfrm>
                <a:off x="1469622" y="3046494"/>
                <a:ext cx="2231136" cy="9144"/>
              </a:xfrm>
              <a:custGeom>
                <a:avLst/>
                <a:gdLst>
                  <a:gd name="connsiteX0" fmla="*/ 0 w 10000"/>
                  <a:gd name="connsiteY0" fmla="*/ 0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00" h="10000" fill="none" extrusionOk="0">
                    <a:moveTo>
                      <a:pt x="0" y="0"/>
                    </a:moveTo>
                    <a:cubicBezTo>
                      <a:pt x="4791" y="327"/>
                      <a:pt x="6400" y="69"/>
                      <a:pt x="10000" y="0"/>
                    </a:cubicBezTo>
                    <a:cubicBezTo>
                      <a:pt x="9955" y="3464"/>
                      <a:pt x="10081" y="7866"/>
                      <a:pt x="10000" y="10000"/>
                    </a:cubicBezTo>
                    <a:cubicBezTo>
                      <a:pt x="6219" y="9793"/>
                      <a:pt x="4034" y="10351"/>
                      <a:pt x="0" y="10000"/>
                    </a:cubicBezTo>
                    <a:cubicBezTo>
                      <a:pt x="454" y="6185"/>
                      <a:pt x="74" y="2352"/>
                      <a:pt x="0" y="0"/>
                    </a:cubicBezTo>
                    <a:close/>
                  </a:path>
                  <a:path w="10000" h="10000" stroke="0" extrusionOk="0">
                    <a:moveTo>
                      <a:pt x="0" y="0"/>
                    </a:moveTo>
                    <a:cubicBezTo>
                      <a:pt x="3868" y="-313"/>
                      <a:pt x="7744" y="7"/>
                      <a:pt x="10000" y="0"/>
                    </a:cubicBezTo>
                    <a:cubicBezTo>
                      <a:pt x="10451" y="4945"/>
                      <a:pt x="10100" y="5440"/>
                      <a:pt x="10000" y="10000"/>
                    </a:cubicBezTo>
                    <a:cubicBezTo>
                      <a:pt x="7056" y="10499"/>
                      <a:pt x="4749" y="10060"/>
                      <a:pt x="0" y="10000"/>
                    </a:cubicBezTo>
                    <a:cubicBezTo>
                      <a:pt x="-33" y="7118"/>
                      <a:pt x="-309" y="3157"/>
                      <a:pt x="0" y="0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solidFill>
                  <a:srgbClr val="E6E6E6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9" name="Add New Profile Picture">
                <a:extLst>
                  <a:ext uri="{FF2B5EF4-FFF2-40B4-BE49-F238E27FC236}">
                    <a16:creationId xmlns:a16="http://schemas.microsoft.com/office/drawing/2014/main" id="{9436BD26-84B5-477B-9285-EAC0AE1775C9}"/>
                  </a:ext>
                </a:extLst>
              </p:cNvPr>
              <p:cNvGrpSpPr/>
              <p:nvPr/>
            </p:nvGrpSpPr>
            <p:grpSpPr>
              <a:xfrm>
                <a:off x="3437256" y="2851578"/>
                <a:ext cx="160841" cy="160841"/>
                <a:chOff x="3437256" y="2851578"/>
                <a:chExt cx="160841" cy="160841"/>
              </a:xfrm>
            </p:grpSpPr>
            <p:grpSp>
              <p:nvGrpSpPr>
                <p:cNvPr id="191" name="Add New Profile Picture">
                  <a:extLst>
                    <a:ext uri="{FF2B5EF4-FFF2-40B4-BE49-F238E27FC236}">
                      <a16:creationId xmlns:a16="http://schemas.microsoft.com/office/drawing/2014/main" id="{58684860-5832-4B81-880D-9FEE9C53FEAD}"/>
                    </a:ext>
                  </a:extLst>
                </p:cNvPr>
                <p:cNvGrpSpPr/>
                <p:nvPr/>
              </p:nvGrpSpPr>
              <p:grpSpPr>
                <a:xfrm>
                  <a:off x="3454673" y="2866931"/>
                  <a:ext cx="120412" cy="100284"/>
                  <a:chOff x="9251440" y="-1407160"/>
                  <a:chExt cx="919926" cy="766149"/>
                </a:xfrm>
              </p:grpSpPr>
              <p:pic>
                <p:nvPicPr>
                  <p:cNvPr id="192" name="Person Icon" descr="User">
                    <a:extLst>
                      <a:ext uri="{FF2B5EF4-FFF2-40B4-BE49-F238E27FC236}">
                        <a16:creationId xmlns:a16="http://schemas.microsoft.com/office/drawing/2014/main" id="{81948A47-00A0-4260-B9B9-314623821F9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rcRect b="17074"/>
                  <a:stretch/>
                </p:blipFill>
                <p:spPr>
                  <a:xfrm>
                    <a:off x="9251440" y="-1407160"/>
                    <a:ext cx="914400" cy="758269"/>
                  </a:xfrm>
                  <a:custGeom>
                    <a:avLst/>
                    <a:gdLst>
                      <a:gd name="connsiteX0" fmla="*/ 0 w 914400"/>
                      <a:gd name="connsiteY0" fmla="*/ 0 h 758269"/>
                      <a:gd name="connsiteX1" fmla="*/ 914400 w 914400"/>
                      <a:gd name="connsiteY1" fmla="*/ 0 h 758269"/>
                      <a:gd name="connsiteX2" fmla="*/ 914400 w 914400"/>
                      <a:gd name="connsiteY2" fmla="*/ 758269 h 758269"/>
                      <a:gd name="connsiteX3" fmla="*/ 854392 w 914400"/>
                      <a:gd name="connsiteY3" fmla="*/ 758269 h 758269"/>
                      <a:gd name="connsiteX4" fmla="*/ 876500 w 914400"/>
                      <a:gd name="connsiteY4" fmla="*/ 742484 h 758269"/>
                      <a:gd name="connsiteX5" fmla="*/ 911670 w 914400"/>
                      <a:gd name="connsiteY5" fmla="*/ 652566 h 758269"/>
                      <a:gd name="connsiteX6" fmla="*/ 791593 w 914400"/>
                      <a:gd name="connsiteY6" fmla="*/ 525403 h 758269"/>
                      <a:gd name="connsiteX7" fmla="*/ 671516 w 914400"/>
                      <a:gd name="connsiteY7" fmla="*/ 652566 h 758269"/>
                      <a:gd name="connsiteX8" fmla="*/ 706686 w 914400"/>
                      <a:gd name="connsiteY8" fmla="*/ 742484 h 758269"/>
                      <a:gd name="connsiteX9" fmla="*/ 728794 w 914400"/>
                      <a:gd name="connsiteY9" fmla="*/ 758269 h 758269"/>
                      <a:gd name="connsiteX10" fmla="*/ 0 w 914400"/>
                      <a:gd name="connsiteY10" fmla="*/ 758269 h 7582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914400" h="758269">
                        <a:moveTo>
                          <a:pt x="0" y="0"/>
                        </a:moveTo>
                        <a:lnTo>
                          <a:pt x="914400" y="0"/>
                        </a:lnTo>
                        <a:lnTo>
                          <a:pt x="914400" y="758269"/>
                        </a:lnTo>
                        <a:lnTo>
                          <a:pt x="854392" y="758269"/>
                        </a:lnTo>
                        <a:lnTo>
                          <a:pt x="876500" y="742484"/>
                        </a:lnTo>
                        <a:cubicBezTo>
                          <a:pt x="898230" y="719472"/>
                          <a:pt x="911670" y="687681"/>
                          <a:pt x="911670" y="652566"/>
                        </a:cubicBezTo>
                        <a:cubicBezTo>
                          <a:pt x="911670" y="582336"/>
                          <a:pt x="857910" y="525403"/>
                          <a:pt x="791593" y="525403"/>
                        </a:cubicBezTo>
                        <a:cubicBezTo>
                          <a:pt x="725276" y="525403"/>
                          <a:pt x="671516" y="582336"/>
                          <a:pt x="671516" y="652566"/>
                        </a:cubicBezTo>
                        <a:cubicBezTo>
                          <a:pt x="671516" y="687681"/>
                          <a:pt x="684956" y="719472"/>
                          <a:pt x="706686" y="742484"/>
                        </a:cubicBezTo>
                        <a:lnTo>
                          <a:pt x="728794" y="758269"/>
                        </a:lnTo>
                        <a:lnTo>
                          <a:pt x="0" y="758269"/>
                        </a:lnTo>
                        <a:close/>
                      </a:path>
                    </a:pathLst>
                  </a:custGeom>
                </p:spPr>
              </p:pic>
              <p:sp>
                <p:nvSpPr>
                  <p:cNvPr id="193" name="Add Button">
                    <a:extLst>
                      <a:ext uri="{FF2B5EF4-FFF2-40B4-BE49-F238E27FC236}">
                        <a16:creationId xmlns:a16="http://schemas.microsoft.com/office/drawing/2014/main" id="{0BA21006-18D5-403F-81A3-C0BCDAFA18CE}"/>
                      </a:ext>
                    </a:extLst>
                  </p:cNvPr>
                  <p:cNvSpPr/>
                  <p:nvPr/>
                </p:nvSpPr>
                <p:spPr>
                  <a:xfrm>
                    <a:off x="9916890" y="-895487"/>
                    <a:ext cx="254476" cy="254476"/>
                  </a:xfrm>
                  <a:prstGeom prst="plus">
                    <a:avLst>
                      <a:gd name="adj" fmla="val 40191"/>
                    </a:avLst>
                  </a:prstGeom>
                  <a:solidFill>
                    <a:srgbClr val="68686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90" name="Circle">
                  <a:extLst>
                    <a:ext uri="{FF2B5EF4-FFF2-40B4-BE49-F238E27FC236}">
                      <a16:creationId xmlns:a16="http://schemas.microsoft.com/office/drawing/2014/main" id="{57E6A5ED-F857-466A-995E-7B5D7535C6AA}"/>
                    </a:ext>
                  </a:extLst>
                </p:cNvPr>
                <p:cNvSpPr/>
                <p:nvPr/>
              </p:nvSpPr>
              <p:spPr>
                <a:xfrm>
                  <a:off x="3437256" y="2851578"/>
                  <a:ext cx="160841" cy="160841"/>
                </a:xfrm>
                <a:custGeom>
                  <a:avLst/>
                  <a:gdLst>
                    <a:gd name="connsiteX0" fmla="*/ 0 w 160841"/>
                    <a:gd name="connsiteY0" fmla="*/ 80421 h 160841"/>
                    <a:gd name="connsiteX1" fmla="*/ 80421 w 160841"/>
                    <a:gd name="connsiteY1" fmla="*/ 0 h 160841"/>
                    <a:gd name="connsiteX2" fmla="*/ 160842 w 160841"/>
                    <a:gd name="connsiteY2" fmla="*/ 80421 h 160841"/>
                    <a:gd name="connsiteX3" fmla="*/ 80421 w 160841"/>
                    <a:gd name="connsiteY3" fmla="*/ 160842 h 160841"/>
                    <a:gd name="connsiteX4" fmla="*/ 0 w 160841"/>
                    <a:gd name="connsiteY4" fmla="*/ 80421 h 160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0841" h="160841" extrusionOk="0">
                      <a:moveTo>
                        <a:pt x="0" y="80421"/>
                      </a:moveTo>
                      <a:cubicBezTo>
                        <a:pt x="-405" y="30043"/>
                        <a:pt x="36716" y="-2162"/>
                        <a:pt x="80421" y="0"/>
                      </a:cubicBezTo>
                      <a:cubicBezTo>
                        <a:pt x="127228" y="-791"/>
                        <a:pt x="155336" y="30719"/>
                        <a:pt x="160842" y="80421"/>
                      </a:cubicBezTo>
                      <a:cubicBezTo>
                        <a:pt x="161968" y="124020"/>
                        <a:pt x="124158" y="159688"/>
                        <a:pt x="80421" y="160842"/>
                      </a:cubicBezTo>
                      <a:cubicBezTo>
                        <a:pt x="39107" y="166534"/>
                        <a:pt x="-25" y="128733"/>
                        <a:pt x="0" y="80421"/>
                      </a:cubicBezTo>
                      <a:close/>
                    </a:path>
                  </a:pathLst>
                </a:custGeom>
                <a:noFill/>
                <a:ln w="6350">
                  <a:solidFill>
                    <a:srgbClr val="737373"/>
                  </a:solidFill>
                  <a:extLst>
                    <a:ext uri="{C807C97D-BFC1-408E-A445-0C87EB9F89A2}">
                      <ask:lineSketchStyleProps xmlns:ask="http://schemas.microsoft.com/office/drawing/2018/sketchyshapes" sd="4121754831">
                        <a:prstGeom prst="ellipse">
                          <a:avLst/>
                        </a:prstGeom>
                        <ask:type>
                          <ask:lineSketchCurve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8" name="Microsoft Logo">
                <a:extLst>
                  <a:ext uri="{FF2B5EF4-FFF2-40B4-BE49-F238E27FC236}">
                    <a16:creationId xmlns:a16="http://schemas.microsoft.com/office/drawing/2014/main" id="{3FD6D8C8-B162-4E23-BB98-F65A95C7D443}"/>
                  </a:ext>
                </a:extLst>
              </p:cNvPr>
              <p:cNvGrpSpPr/>
              <p:nvPr/>
            </p:nvGrpSpPr>
            <p:grpSpPr>
              <a:xfrm>
                <a:off x="2283117" y="2841972"/>
                <a:ext cx="657794" cy="134819"/>
                <a:chOff x="2283117" y="2841972"/>
                <a:chExt cx="657794" cy="134819"/>
              </a:xfrm>
            </p:grpSpPr>
            <p:grpSp>
              <p:nvGrpSpPr>
                <p:cNvPr id="198" name="Microsoft Logo Placeholder">
                  <a:extLst>
                    <a:ext uri="{FF2B5EF4-FFF2-40B4-BE49-F238E27FC236}">
                      <a16:creationId xmlns:a16="http://schemas.microsoft.com/office/drawing/2014/main" id="{60339686-646A-4FB0-AEC3-E157431C5588}"/>
                    </a:ext>
                  </a:extLst>
                </p:cNvPr>
                <p:cNvGrpSpPr/>
                <p:nvPr/>
              </p:nvGrpSpPr>
              <p:grpSpPr>
                <a:xfrm>
                  <a:off x="2283117" y="2848236"/>
                  <a:ext cx="127319" cy="125043"/>
                  <a:chOff x="1950533" y="1912092"/>
                  <a:chExt cx="144420" cy="141838"/>
                </a:xfrm>
              </p:grpSpPr>
              <p:sp>
                <p:nvSpPr>
                  <p:cNvPr id="194" name="Square">
                    <a:extLst>
                      <a:ext uri="{FF2B5EF4-FFF2-40B4-BE49-F238E27FC236}">
                        <a16:creationId xmlns:a16="http://schemas.microsoft.com/office/drawing/2014/main" id="{7B3C90CB-CA5D-453A-A3B7-98260B84C393}"/>
                      </a:ext>
                    </a:extLst>
                  </p:cNvPr>
                  <p:cNvSpPr/>
                  <p:nvPr/>
                </p:nvSpPr>
                <p:spPr>
                  <a:xfrm>
                    <a:off x="1952625" y="1913132"/>
                    <a:ext cx="141684" cy="140798"/>
                  </a:xfrm>
                  <a:custGeom>
                    <a:avLst/>
                    <a:gdLst>
                      <a:gd name="connsiteX0" fmla="*/ 0 w 141684"/>
                      <a:gd name="connsiteY0" fmla="*/ 0 h 140798"/>
                      <a:gd name="connsiteX1" fmla="*/ 141684 w 141684"/>
                      <a:gd name="connsiteY1" fmla="*/ 0 h 140798"/>
                      <a:gd name="connsiteX2" fmla="*/ 141684 w 141684"/>
                      <a:gd name="connsiteY2" fmla="*/ 140798 h 140798"/>
                      <a:gd name="connsiteX3" fmla="*/ 0 w 141684"/>
                      <a:gd name="connsiteY3" fmla="*/ 140798 h 140798"/>
                      <a:gd name="connsiteX4" fmla="*/ 0 w 141684"/>
                      <a:gd name="connsiteY4" fmla="*/ 0 h 140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684" h="140798" fill="none" extrusionOk="0">
                        <a:moveTo>
                          <a:pt x="0" y="0"/>
                        </a:moveTo>
                        <a:cubicBezTo>
                          <a:pt x="45991" y="1878"/>
                          <a:pt x="96569" y="5713"/>
                          <a:pt x="141684" y="0"/>
                        </a:cubicBezTo>
                        <a:cubicBezTo>
                          <a:pt x="138845" y="57765"/>
                          <a:pt x="145173" y="72590"/>
                          <a:pt x="141684" y="140798"/>
                        </a:cubicBezTo>
                        <a:cubicBezTo>
                          <a:pt x="80807" y="141118"/>
                          <a:pt x="31063" y="140290"/>
                          <a:pt x="0" y="140798"/>
                        </a:cubicBezTo>
                        <a:cubicBezTo>
                          <a:pt x="1379" y="91549"/>
                          <a:pt x="-187" y="55626"/>
                          <a:pt x="0" y="0"/>
                        </a:cubicBezTo>
                        <a:close/>
                      </a:path>
                      <a:path w="141684" h="140798" stroke="0" extrusionOk="0">
                        <a:moveTo>
                          <a:pt x="0" y="0"/>
                        </a:moveTo>
                        <a:cubicBezTo>
                          <a:pt x="62393" y="2102"/>
                          <a:pt x="83537" y="-1382"/>
                          <a:pt x="141684" y="0"/>
                        </a:cubicBezTo>
                        <a:cubicBezTo>
                          <a:pt x="135837" y="59974"/>
                          <a:pt x="144028" y="102945"/>
                          <a:pt x="141684" y="140798"/>
                        </a:cubicBezTo>
                        <a:cubicBezTo>
                          <a:pt x="95486" y="144697"/>
                          <a:pt x="42034" y="141879"/>
                          <a:pt x="0" y="140798"/>
                        </a:cubicBezTo>
                        <a:cubicBezTo>
                          <a:pt x="-996" y="102443"/>
                          <a:pt x="5794" y="61365"/>
                          <a:pt x="0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6350">
                    <a:solidFill>
                      <a:srgbClr val="444446"/>
                    </a:solidFill>
                    <a:extLst>
                      <a:ext uri="{C807C97D-BFC1-408E-A445-0C87EB9F89A2}">
                        <ask:lineSketchStyleProps xmlns:ask="http://schemas.microsoft.com/office/drawing/2018/sketchyshapes" sd="1927782525">
                          <a:prstGeom prst="rect">
                            <a:avLst/>
                          </a:prstGeom>
                          <ask:type>
                            <ask:lineSketchFreehand/>
                          </ask:type>
                        </ask:lineSketchStyleProps>
                      </a:ext>
                    </a:extLst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196" name="Line 2">
                    <a:extLst>
                      <a:ext uri="{FF2B5EF4-FFF2-40B4-BE49-F238E27FC236}">
                        <a16:creationId xmlns:a16="http://schemas.microsoft.com/office/drawing/2014/main" id="{006BA059-EFB9-4886-9C2F-B4B0EC6686FD}"/>
                      </a:ext>
                    </a:extLst>
                  </p:cNvPr>
                  <p:cNvCxnSpPr/>
                  <p:nvPr/>
                </p:nvCxnSpPr>
                <p:spPr>
                  <a:xfrm>
                    <a:off x="1950533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Line 1">
                    <a:extLst>
                      <a:ext uri="{FF2B5EF4-FFF2-40B4-BE49-F238E27FC236}">
                        <a16:creationId xmlns:a16="http://schemas.microsoft.com/office/drawing/2014/main" id="{4A7DB76C-CB49-448B-92DF-2AACF15ABA4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951177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99" name="Microsoft Text">
                  <a:extLst>
                    <a:ext uri="{FF2B5EF4-FFF2-40B4-BE49-F238E27FC236}">
                      <a16:creationId xmlns:a16="http://schemas.microsoft.com/office/drawing/2014/main" id="{367523E8-BD65-4A44-9395-6D43D4719576}"/>
                    </a:ext>
                  </a:extLst>
                </p:cNvPr>
                <p:cNvSpPr txBox="1"/>
                <p:nvPr/>
              </p:nvSpPr>
              <p:spPr>
                <a:xfrm>
                  <a:off x="2440343" y="2841972"/>
                  <a:ext cx="500568" cy="13481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lnSpc>
                      <a:spcPct val="110000"/>
                    </a:lnSpc>
                  </a:pPr>
                  <a:r>
                    <a:rPr lang="en-US" sz="850" dirty="0">
                      <a:solidFill>
                        <a:srgbClr val="67676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Contoso</a:t>
                  </a:r>
                </a:p>
              </p:txBody>
            </p:sp>
          </p:grpSp>
          <p:grpSp>
            <p:nvGrpSpPr>
              <p:cNvPr id="200" name="Menu Button">
                <a:extLst>
                  <a:ext uri="{FF2B5EF4-FFF2-40B4-BE49-F238E27FC236}">
                    <a16:creationId xmlns:a16="http://schemas.microsoft.com/office/drawing/2014/main" id="{D32DC159-1BE0-410A-B06F-B7F3121D1A72}"/>
                  </a:ext>
                </a:extLst>
              </p:cNvPr>
              <p:cNvGrpSpPr/>
              <p:nvPr/>
            </p:nvGrpSpPr>
            <p:grpSpPr>
              <a:xfrm>
                <a:off x="1569107" y="2886215"/>
                <a:ext cx="109676" cy="69358"/>
                <a:chOff x="4321834" y="7099539"/>
                <a:chExt cx="189781" cy="135090"/>
              </a:xfrm>
            </p:grpSpPr>
            <p:sp>
              <p:nvSpPr>
                <p:cNvPr id="203" name="Rectangle 3">
                  <a:extLst>
                    <a:ext uri="{FF2B5EF4-FFF2-40B4-BE49-F238E27FC236}">
                      <a16:creationId xmlns:a16="http://schemas.microsoft.com/office/drawing/2014/main" id="{A54B59A0-E9F6-4CD7-9B08-1D767904699D}"/>
                    </a:ext>
                  </a:extLst>
                </p:cNvPr>
                <p:cNvSpPr/>
                <p:nvPr/>
              </p:nvSpPr>
              <p:spPr>
                <a:xfrm>
                  <a:off x="4321834" y="7207197"/>
                  <a:ext cx="189781" cy="27432"/>
                </a:xfrm>
                <a:custGeom>
                  <a:avLst/>
                  <a:gdLst>
                    <a:gd name="connsiteX0" fmla="*/ 0 w 189781"/>
                    <a:gd name="connsiteY0" fmla="*/ 0 h 27432"/>
                    <a:gd name="connsiteX1" fmla="*/ 189781 w 189781"/>
                    <a:gd name="connsiteY1" fmla="*/ 0 h 27432"/>
                    <a:gd name="connsiteX2" fmla="*/ 189781 w 189781"/>
                    <a:gd name="connsiteY2" fmla="*/ 27432 h 27432"/>
                    <a:gd name="connsiteX3" fmla="*/ 0 w 189781"/>
                    <a:gd name="connsiteY3" fmla="*/ 27432 h 27432"/>
                    <a:gd name="connsiteX4" fmla="*/ 0 w 189781"/>
                    <a:gd name="connsiteY4" fmla="*/ 0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781" h="27432" fill="none" extrusionOk="0">
                      <a:moveTo>
                        <a:pt x="0" y="0"/>
                      </a:moveTo>
                      <a:cubicBezTo>
                        <a:pt x="63962" y="7429"/>
                        <a:pt x="101364" y="-89"/>
                        <a:pt x="189781" y="0"/>
                      </a:cubicBezTo>
                      <a:cubicBezTo>
                        <a:pt x="188633" y="6730"/>
                        <a:pt x="188830" y="20567"/>
                        <a:pt x="189781" y="27432"/>
                      </a:cubicBezTo>
                      <a:cubicBezTo>
                        <a:pt x="150627" y="23840"/>
                        <a:pt x="44296" y="31223"/>
                        <a:pt x="0" y="27432"/>
                      </a:cubicBezTo>
                      <a:cubicBezTo>
                        <a:pt x="1024" y="16170"/>
                        <a:pt x="1366" y="10545"/>
                        <a:pt x="0" y="0"/>
                      </a:cubicBezTo>
                      <a:close/>
                    </a:path>
                    <a:path w="189781" h="27432" stroke="0" extrusionOk="0">
                      <a:moveTo>
                        <a:pt x="0" y="0"/>
                      </a:moveTo>
                      <a:cubicBezTo>
                        <a:pt x="75930" y="-5552"/>
                        <a:pt x="108091" y="-5520"/>
                        <a:pt x="189781" y="0"/>
                      </a:cubicBezTo>
                      <a:cubicBezTo>
                        <a:pt x="190708" y="8872"/>
                        <a:pt x="190410" y="19259"/>
                        <a:pt x="189781" y="27432"/>
                      </a:cubicBezTo>
                      <a:cubicBezTo>
                        <a:pt x="116200" y="32360"/>
                        <a:pt x="87791" y="33405"/>
                        <a:pt x="0" y="27432"/>
                      </a:cubicBezTo>
                      <a:cubicBezTo>
                        <a:pt x="482" y="16935"/>
                        <a:pt x="799" y="7801"/>
                        <a:pt x="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9525">
                  <a:solidFill>
                    <a:srgbClr val="404040">
                      <a:alpha val="0"/>
                    </a:srgbClr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2" name="Rectangle 2">
                  <a:extLst>
                    <a:ext uri="{FF2B5EF4-FFF2-40B4-BE49-F238E27FC236}">
                      <a16:creationId xmlns:a16="http://schemas.microsoft.com/office/drawing/2014/main" id="{79D92377-C101-4AD4-9CC1-EA6E79B780C3}"/>
                    </a:ext>
                  </a:extLst>
                </p:cNvPr>
                <p:cNvSpPr/>
                <p:nvPr/>
              </p:nvSpPr>
              <p:spPr>
                <a:xfrm>
                  <a:off x="4321834" y="7153368"/>
                  <a:ext cx="189781" cy="27432"/>
                </a:xfrm>
                <a:custGeom>
                  <a:avLst/>
                  <a:gdLst>
                    <a:gd name="connsiteX0" fmla="*/ 0 w 189781"/>
                    <a:gd name="connsiteY0" fmla="*/ 0 h 27432"/>
                    <a:gd name="connsiteX1" fmla="*/ 189781 w 189781"/>
                    <a:gd name="connsiteY1" fmla="*/ 0 h 27432"/>
                    <a:gd name="connsiteX2" fmla="*/ 189781 w 189781"/>
                    <a:gd name="connsiteY2" fmla="*/ 27432 h 27432"/>
                    <a:gd name="connsiteX3" fmla="*/ 0 w 189781"/>
                    <a:gd name="connsiteY3" fmla="*/ 27432 h 27432"/>
                    <a:gd name="connsiteX4" fmla="*/ 0 w 189781"/>
                    <a:gd name="connsiteY4" fmla="*/ 0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781" h="27432" fill="none" extrusionOk="0">
                      <a:moveTo>
                        <a:pt x="0" y="0"/>
                      </a:moveTo>
                      <a:cubicBezTo>
                        <a:pt x="57165" y="-7750"/>
                        <a:pt x="125307" y="5611"/>
                        <a:pt x="189781" y="0"/>
                      </a:cubicBezTo>
                      <a:cubicBezTo>
                        <a:pt x="190755" y="12107"/>
                        <a:pt x="189205" y="21011"/>
                        <a:pt x="189781" y="27432"/>
                      </a:cubicBezTo>
                      <a:cubicBezTo>
                        <a:pt x="123752" y="31664"/>
                        <a:pt x="94305" y="33629"/>
                        <a:pt x="0" y="27432"/>
                      </a:cubicBezTo>
                      <a:cubicBezTo>
                        <a:pt x="-1046" y="20317"/>
                        <a:pt x="476" y="8994"/>
                        <a:pt x="0" y="0"/>
                      </a:cubicBezTo>
                      <a:close/>
                    </a:path>
                    <a:path w="189781" h="27432" stroke="0" extrusionOk="0">
                      <a:moveTo>
                        <a:pt x="0" y="0"/>
                      </a:moveTo>
                      <a:cubicBezTo>
                        <a:pt x="65242" y="6257"/>
                        <a:pt x="147427" y="6702"/>
                        <a:pt x="189781" y="0"/>
                      </a:cubicBezTo>
                      <a:cubicBezTo>
                        <a:pt x="190696" y="7294"/>
                        <a:pt x="189295" y="19060"/>
                        <a:pt x="189781" y="27432"/>
                      </a:cubicBezTo>
                      <a:cubicBezTo>
                        <a:pt x="107007" y="26560"/>
                        <a:pt x="39824" y="33230"/>
                        <a:pt x="0" y="27432"/>
                      </a:cubicBezTo>
                      <a:cubicBezTo>
                        <a:pt x="-172" y="17752"/>
                        <a:pt x="682" y="11766"/>
                        <a:pt x="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9525">
                  <a:solidFill>
                    <a:srgbClr val="404040">
                      <a:alpha val="0"/>
                    </a:srgbClr>
                  </a:solidFill>
                  <a:extLst>
                    <a:ext uri="{C807C97D-BFC1-408E-A445-0C87EB9F89A2}">
                      <ask:lineSketchStyleProps xmlns:ask="http://schemas.microsoft.com/office/drawing/2018/sketchyshapes" sd="1670402538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1" name="Rectangle 1">
                  <a:extLst>
                    <a:ext uri="{FF2B5EF4-FFF2-40B4-BE49-F238E27FC236}">
                      <a16:creationId xmlns:a16="http://schemas.microsoft.com/office/drawing/2014/main" id="{8AB4E919-F589-4E44-B548-4F9F17AFA88D}"/>
                    </a:ext>
                  </a:extLst>
                </p:cNvPr>
                <p:cNvSpPr/>
                <p:nvPr/>
              </p:nvSpPr>
              <p:spPr>
                <a:xfrm>
                  <a:off x="4321834" y="7099539"/>
                  <a:ext cx="189781" cy="27432"/>
                </a:xfrm>
                <a:custGeom>
                  <a:avLst/>
                  <a:gdLst>
                    <a:gd name="connsiteX0" fmla="*/ 0 w 189781"/>
                    <a:gd name="connsiteY0" fmla="*/ 0 h 27432"/>
                    <a:gd name="connsiteX1" fmla="*/ 189781 w 189781"/>
                    <a:gd name="connsiteY1" fmla="*/ 0 h 27432"/>
                    <a:gd name="connsiteX2" fmla="*/ 189781 w 189781"/>
                    <a:gd name="connsiteY2" fmla="*/ 27432 h 27432"/>
                    <a:gd name="connsiteX3" fmla="*/ 0 w 189781"/>
                    <a:gd name="connsiteY3" fmla="*/ 27432 h 27432"/>
                    <a:gd name="connsiteX4" fmla="*/ 0 w 189781"/>
                    <a:gd name="connsiteY4" fmla="*/ 0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781" h="27432" fill="none" extrusionOk="0">
                      <a:moveTo>
                        <a:pt x="0" y="0"/>
                      </a:moveTo>
                      <a:cubicBezTo>
                        <a:pt x="45288" y="3986"/>
                        <a:pt x="114206" y="5823"/>
                        <a:pt x="189781" y="0"/>
                      </a:cubicBezTo>
                      <a:cubicBezTo>
                        <a:pt x="191059" y="11470"/>
                        <a:pt x="189052" y="16780"/>
                        <a:pt x="189781" y="27432"/>
                      </a:cubicBezTo>
                      <a:cubicBezTo>
                        <a:pt x="130582" y="27305"/>
                        <a:pt x="78470" y="36817"/>
                        <a:pt x="0" y="27432"/>
                      </a:cubicBezTo>
                      <a:cubicBezTo>
                        <a:pt x="1360" y="17268"/>
                        <a:pt x="-83" y="8055"/>
                        <a:pt x="0" y="0"/>
                      </a:cubicBezTo>
                      <a:close/>
                    </a:path>
                    <a:path w="189781" h="27432" stroke="0" extrusionOk="0">
                      <a:moveTo>
                        <a:pt x="0" y="0"/>
                      </a:moveTo>
                      <a:cubicBezTo>
                        <a:pt x="49502" y="-8745"/>
                        <a:pt x="111935" y="4472"/>
                        <a:pt x="189781" y="0"/>
                      </a:cubicBezTo>
                      <a:cubicBezTo>
                        <a:pt x="189888" y="13381"/>
                        <a:pt x="189582" y="15985"/>
                        <a:pt x="189781" y="27432"/>
                      </a:cubicBezTo>
                      <a:cubicBezTo>
                        <a:pt x="137396" y="28207"/>
                        <a:pt x="51979" y="35208"/>
                        <a:pt x="0" y="27432"/>
                      </a:cubicBezTo>
                      <a:cubicBezTo>
                        <a:pt x="207" y="17000"/>
                        <a:pt x="-193" y="6553"/>
                        <a:pt x="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9525">
                  <a:solidFill>
                    <a:srgbClr val="404040">
                      <a:alpha val="0"/>
                    </a:srgb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40" name="Search Icon">
                <a:extLst>
                  <a:ext uri="{FF2B5EF4-FFF2-40B4-BE49-F238E27FC236}">
                    <a16:creationId xmlns:a16="http://schemas.microsoft.com/office/drawing/2014/main" id="{A02735D6-273B-4B3B-BE68-68EC77110960}"/>
                  </a:ext>
                </a:extLst>
              </p:cNvPr>
              <p:cNvGrpSpPr/>
              <p:nvPr/>
            </p:nvGrpSpPr>
            <p:grpSpPr>
              <a:xfrm>
                <a:off x="1848751" y="2891209"/>
                <a:ext cx="81241" cy="76006"/>
                <a:chOff x="1450680" y="1960836"/>
                <a:chExt cx="92153" cy="86215"/>
              </a:xfrm>
            </p:grpSpPr>
            <p:sp>
              <p:nvSpPr>
                <p:cNvPr id="204" name="Circle">
                  <a:extLst>
                    <a:ext uri="{FF2B5EF4-FFF2-40B4-BE49-F238E27FC236}">
                      <a16:creationId xmlns:a16="http://schemas.microsoft.com/office/drawing/2014/main" id="{F508779B-CEF6-4C74-9963-2CC1B42B487C}"/>
                    </a:ext>
                  </a:extLst>
                </p:cNvPr>
                <p:cNvSpPr/>
                <p:nvPr/>
              </p:nvSpPr>
              <p:spPr>
                <a:xfrm>
                  <a:off x="1490446" y="1960836"/>
                  <a:ext cx="52387" cy="54864"/>
                </a:xfrm>
                <a:custGeom>
                  <a:avLst/>
                  <a:gdLst>
                    <a:gd name="connsiteX0" fmla="*/ 0 w 52387"/>
                    <a:gd name="connsiteY0" fmla="*/ 27432 h 54864"/>
                    <a:gd name="connsiteX1" fmla="*/ 26194 w 52387"/>
                    <a:gd name="connsiteY1" fmla="*/ 0 h 54864"/>
                    <a:gd name="connsiteX2" fmla="*/ 52388 w 52387"/>
                    <a:gd name="connsiteY2" fmla="*/ 27432 h 54864"/>
                    <a:gd name="connsiteX3" fmla="*/ 26194 w 52387"/>
                    <a:gd name="connsiteY3" fmla="*/ 54864 h 54864"/>
                    <a:gd name="connsiteX4" fmla="*/ 0 w 52387"/>
                    <a:gd name="connsiteY4" fmla="*/ 27432 h 54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87" h="54864" fill="none" extrusionOk="0">
                      <a:moveTo>
                        <a:pt x="0" y="27432"/>
                      </a:moveTo>
                      <a:cubicBezTo>
                        <a:pt x="1623" y="12475"/>
                        <a:pt x="12451" y="-1489"/>
                        <a:pt x="26194" y="0"/>
                      </a:cubicBezTo>
                      <a:cubicBezTo>
                        <a:pt x="38956" y="-261"/>
                        <a:pt x="50255" y="14290"/>
                        <a:pt x="52388" y="27432"/>
                      </a:cubicBezTo>
                      <a:cubicBezTo>
                        <a:pt x="52337" y="42093"/>
                        <a:pt x="38581" y="57754"/>
                        <a:pt x="26194" y="54864"/>
                      </a:cubicBezTo>
                      <a:cubicBezTo>
                        <a:pt x="13802" y="56026"/>
                        <a:pt x="406" y="42680"/>
                        <a:pt x="0" y="27432"/>
                      </a:cubicBezTo>
                      <a:close/>
                    </a:path>
                    <a:path w="52387" h="54864" stroke="0" extrusionOk="0">
                      <a:moveTo>
                        <a:pt x="0" y="27432"/>
                      </a:moveTo>
                      <a:cubicBezTo>
                        <a:pt x="-2890" y="10499"/>
                        <a:pt x="10147" y="593"/>
                        <a:pt x="26194" y="0"/>
                      </a:cubicBezTo>
                      <a:cubicBezTo>
                        <a:pt x="42736" y="437"/>
                        <a:pt x="48929" y="12392"/>
                        <a:pt x="52388" y="27432"/>
                      </a:cubicBezTo>
                      <a:cubicBezTo>
                        <a:pt x="50325" y="44597"/>
                        <a:pt x="40499" y="55758"/>
                        <a:pt x="26194" y="54864"/>
                      </a:cubicBezTo>
                      <a:cubicBezTo>
                        <a:pt x="9789" y="53804"/>
                        <a:pt x="2557" y="43804"/>
                        <a:pt x="0" y="274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ellipse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06" name="Line">
                  <a:extLst>
                    <a:ext uri="{FF2B5EF4-FFF2-40B4-BE49-F238E27FC236}">
                      <a16:creationId xmlns:a16="http://schemas.microsoft.com/office/drawing/2014/main" id="{E12CAF77-9DB9-479E-8E69-36595E595636}"/>
                    </a:ext>
                  </a:extLst>
                </p:cNvPr>
                <p:cNvCxnSpPr/>
                <p:nvPr/>
              </p:nvCxnSpPr>
              <p:spPr>
                <a:xfrm flipH="1">
                  <a:off x="1450680" y="2007104"/>
                  <a:ext cx="43554" cy="39947"/>
                </a:xfrm>
                <a:prstGeom prst="line">
                  <a:avLst/>
                </a:prstGeom>
                <a:ln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221" name="Cart Icon" descr="Shopping cart">
                <a:extLst>
                  <a:ext uri="{FF2B5EF4-FFF2-40B4-BE49-F238E27FC236}">
                    <a16:creationId xmlns:a16="http://schemas.microsoft.com/office/drawing/2014/main" id="{BB93E62F-47DA-48A4-B2A7-89C728CC97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180883" y="2874768"/>
                <a:ext cx="97056" cy="97056"/>
              </a:xfrm>
              <a:prstGeom prst="rect">
                <a:avLst/>
              </a:prstGeom>
            </p:spPr>
          </p:pic>
        </p:grpSp>
        <p:sp>
          <p:nvSpPr>
            <p:cNvPr id="182" name="Menu Header Background">
              <a:extLst>
                <a:ext uri="{FF2B5EF4-FFF2-40B4-BE49-F238E27FC236}">
                  <a16:creationId xmlns:a16="http://schemas.microsoft.com/office/drawing/2014/main" id="{978ED70A-BCAA-40D0-8E5F-49A1186153F8}"/>
                </a:ext>
              </a:extLst>
            </p:cNvPr>
            <p:cNvSpPr/>
            <p:nvPr/>
          </p:nvSpPr>
          <p:spPr>
            <a:xfrm>
              <a:off x="1466781" y="2387397"/>
              <a:ext cx="2232972" cy="402586"/>
            </a:xfrm>
            <a:custGeom>
              <a:avLst/>
              <a:gdLst>
                <a:gd name="connsiteX0" fmla="*/ 0 w 2232972"/>
                <a:gd name="connsiteY0" fmla="*/ 0 h 402586"/>
                <a:gd name="connsiteX1" fmla="*/ 0 w 2232972"/>
                <a:gd name="connsiteY1" fmla="*/ 0 h 402586"/>
                <a:gd name="connsiteX2" fmla="*/ 535913 w 2232972"/>
                <a:gd name="connsiteY2" fmla="*/ 0 h 402586"/>
                <a:gd name="connsiteX3" fmla="*/ 1094156 w 2232972"/>
                <a:gd name="connsiteY3" fmla="*/ 0 h 402586"/>
                <a:gd name="connsiteX4" fmla="*/ 1652399 w 2232972"/>
                <a:gd name="connsiteY4" fmla="*/ 0 h 402586"/>
                <a:gd name="connsiteX5" fmla="*/ 2232972 w 2232972"/>
                <a:gd name="connsiteY5" fmla="*/ 0 h 402586"/>
                <a:gd name="connsiteX6" fmla="*/ 2232972 w 2232972"/>
                <a:gd name="connsiteY6" fmla="*/ 0 h 402586"/>
                <a:gd name="connsiteX7" fmla="*/ 2232972 w 2232972"/>
                <a:gd name="connsiteY7" fmla="*/ 402586 h 402586"/>
                <a:gd name="connsiteX8" fmla="*/ 2232972 w 2232972"/>
                <a:gd name="connsiteY8" fmla="*/ 402586 h 402586"/>
                <a:gd name="connsiteX9" fmla="*/ 1674729 w 2232972"/>
                <a:gd name="connsiteY9" fmla="*/ 402586 h 402586"/>
                <a:gd name="connsiteX10" fmla="*/ 1161145 w 2232972"/>
                <a:gd name="connsiteY10" fmla="*/ 402586 h 402586"/>
                <a:gd name="connsiteX11" fmla="*/ 647562 w 2232972"/>
                <a:gd name="connsiteY11" fmla="*/ 402586 h 402586"/>
                <a:gd name="connsiteX12" fmla="*/ 0 w 2232972"/>
                <a:gd name="connsiteY12" fmla="*/ 402586 h 402586"/>
                <a:gd name="connsiteX13" fmla="*/ 0 w 2232972"/>
                <a:gd name="connsiteY13" fmla="*/ 402586 h 402586"/>
                <a:gd name="connsiteX14" fmla="*/ 0 w 2232972"/>
                <a:gd name="connsiteY14" fmla="*/ 0 h 4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32972" h="402586" fill="none" extrusionOk="0">
                  <a:moveTo>
                    <a:pt x="0" y="0"/>
                  </a:moveTo>
                  <a:lnTo>
                    <a:pt x="0" y="0"/>
                  </a:lnTo>
                  <a:cubicBezTo>
                    <a:pt x="147406" y="-11487"/>
                    <a:pt x="272346" y="7094"/>
                    <a:pt x="535913" y="0"/>
                  </a:cubicBezTo>
                  <a:cubicBezTo>
                    <a:pt x="799480" y="-7094"/>
                    <a:pt x="890176" y="14257"/>
                    <a:pt x="1094156" y="0"/>
                  </a:cubicBezTo>
                  <a:cubicBezTo>
                    <a:pt x="1298136" y="-14257"/>
                    <a:pt x="1530231" y="1464"/>
                    <a:pt x="1652399" y="0"/>
                  </a:cubicBezTo>
                  <a:cubicBezTo>
                    <a:pt x="1774567" y="-1464"/>
                    <a:pt x="2039451" y="26039"/>
                    <a:pt x="2232972" y="0"/>
                  </a:cubicBezTo>
                  <a:lnTo>
                    <a:pt x="2232972" y="0"/>
                  </a:lnTo>
                  <a:cubicBezTo>
                    <a:pt x="2219879" y="83520"/>
                    <a:pt x="2246032" y="273696"/>
                    <a:pt x="2232972" y="402586"/>
                  </a:cubicBezTo>
                  <a:lnTo>
                    <a:pt x="2232972" y="402586"/>
                  </a:lnTo>
                  <a:cubicBezTo>
                    <a:pt x="2065325" y="414939"/>
                    <a:pt x="1843769" y="402560"/>
                    <a:pt x="1674729" y="402586"/>
                  </a:cubicBezTo>
                  <a:cubicBezTo>
                    <a:pt x="1505689" y="402612"/>
                    <a:pt x="1378045" y="379808"/>
                    <a:pt x="1161145" y="402586"/>
                  </a:cubicBezTo>
                  <a:cubicBezTo>
                    <a:pt x="944245" y="425364"/>
                    <a:pt x="877932" y="399227"/>
                    <a:pt x="647562" y="402586"/>
                  </a:cubicBezTo>
                  <a:cubicBezTo>
                    <a:pt x="417192" y="405945"/>
                    <a:pt x="293594" y="374392"/>
                    <a:pt x="0" y="402586"/>
                  </a:cubicBezTo>
                  <a:lnTo>
                    <a:pt x="0" y="402586"/>
                  </a:lnTo>
                  <a:cubicBezTo>
                    <a:pt x="8541" y="294937"/>
                    <a:pt x="-19623" y="103718"/>
                    <a:pt x="0" y="0"/>
                  </a:cubicBezTo>
                  <a:close/>
                </a:path>
                <a:path w="2232972" h="402586" stroke="0" extrusionOk="0">
                  <a:moveTo>
                    <a:pt x="0" y="0"/>
                  </a:moveTo>
                  <a:lnTo>
                    <a:pt x="0" y="0"/>
                  </a:lnTo>
                  <a:cubicBezTo>
                    <a:pt x="242604" y="-9532"/>
                    <a:pt x="414600" y="-17151"/>
                    <a:pt x="535913" y="0"/>
                  </a:cubicBezTo>
                  <a:cubicBezTo>
                    <a:pt x="657226" y="17151"/>
                    <a:pt x="907053" y="-21676"/>
                    <a:pt x="1027167" y="0"/>
                  </a:cubicBezTo>
                  <a:cubicBezTo>
                    <a:pt x="1147281" y="21676"/>
                    <a:pt x="1506001" y="-16517"/>
                    <a:pt x="1630070" y="0"/>
                  </a:cubicBezTo>
                  <a:cubicBezTo>
                    <a:pt x="1754139" y="16517"/>
                    <a:pt x="2036633" y="-11698"/>
                    <a:pt x="2232972" y="0"/>
                  </a:cubicBezTo>
                  <a:lnTo>
                    <a:pt x="2232972" y="0"/>
                  </a:lnTo>
                  <a:cubicBezTo>
                    <a:pt x="2219488" y="169416"/>
                    <a:pt x="2240019" y="289193"/>
                    <a:pt x="2232972" y="402586"/>
                  </a:cubicBezTo>
                  <a:lnTo>
                    <a:pt x="2232972" y="402586"/>
                  </a:lnTo>
                  <a:cubicBezTo>
                    <a:pt x="1999455" y="420234"/>
                    <a:pt x="1921617" y="381245"/>
                    <a:pt x="1719388" y="402586"/>
                  </a:cubicBezTo>
                  <a:cubicBezTo>
                    <a:pt x="1517159" y="423927"/>
                    <a:pt x="1316657" y="395772"/>
                    <a:pt x="1205805" y="402586"/>
                  </a:cubicBezTo>
                  <a:cubicBezTo>
                    <a:pt x="1094953" y="409400"/>
                    <a:pt x="734157" y="416370"/>
                    <a:pt x="602902" y="402586"/>
                  </a:cubicBezTo>
                  <a:cubicBezTo>
                    <a:pt x="471647" y="388802"/>
                    <a:pt x="171528" y="432641"/>
                    <a:pt x="0" y="402586"/>
                  </a:cubicBezTo>
                  <a:lnTo>
                    <a:pt x="0" y="402586"/>
                  </a:lnTo>
                  <a:cubicBezTo>
                    <a:pt x="10091" y="221488"/>
                    <a:pt x="166" y="108559"/>
                    <a:pt x="0" y="0"/>
                  </a:cubicBezTo>
                  <a:close/>
                </a:path>
              </a:pathLst>
            </a:custGeom>
            <a:solidFill>
              <a:srgbClr val="FAF9F9"/>
            </a:solidFill>
            <a:ln w="3175">
              <a:solidFill>
                <a:srgbClr val="B8B8B8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7" name="Address Bar">
              <a:extLst>
                <a:ext uri="{FF2B5EF4-FFF2-40B4-BE49-F238E27FC236}">
                  <a16:creationId xmlns:a16="http://schemas.microsoft.com/office/drawing/2014/main" id="{B635C4E4-CD8C-47D1-B33E-84E9C24527DB}"/>
                </a:ext>
              </a:extLst>
            </p:cNvPr>
            <p:cNvGrpSpPr/>
            <p:nvPr/>
          </p:nvGrpSpPr>
          <p:grpSpPr>
            <a:xfrm>
              <a:off x="1551469" y="2537917"/>
              <a:ext cx="2063593" cy="200859"/>
              <a:chOff x="1551469" y="2537917"/>
              <a:chExt cx="2063593" cy="200859"/>
            </a:xfrm>
          </p:grpSpPr>
          <p:sp>
            <p:nvSpPr>
              <p:cNvPr id="219" name="Address Bar Placeholder">
                <a:extLst>
                  <a:ext uri="{FF2B5EF4-FFF2-40B4-BE49-F238E27FC236}">
                    <a16:creationId xmlns:a16="http://schemas.microsoft.com/office/drawing/2014/main" id="{6A112399-31F1-4BA7-8338-95CA1623E884}"/>
                  </a:ext>
                </a:extLst>
              </p:cNvPr>
              <p:cNvSpPr/>
              <p:nvPr/>
            </p:nvSpPr>
            <p:spPr>
              <a:xfrm>
                <a:off x="1551469" y="2537917"/>
                <a:ext cx="2063593" cy="200859"/>
              </a:xfrm>
              <a:custGeom>
                <a:avLst/>
                <a:gdLst>
                  <a:gd name="connsiteX0" fmla="*/ 0 w 2063593"/>
                  <a:gd name="connsiteY0" fmla="*/ 33477 h 200859"/>
                  <a:gd name="connsiteX1" fmla="*/ 33477 w 2063593"/>
                  <a:gd name="connsiteY1" fmla="*/ 0 h 200859"/>
                  <a:gd name="connsiteX2" fmla="*/ 718990 w 2063593"/>
                  <a:gd name="connsiteY2" fmla="*/ 0 h 200859"/>
                  <a:gd name="connsiteX3" fmla="*/ 1384536 w 2063593"/>
                  <a:gd name="connsiteY3" fmla="*/ 0 h 200859"/>
                  <a:gd name="connsiteX4" fmla="*/ 2030116 w 2063593"/>
                  <a:gd name="connsiteY4" fmla="*/ 0 h 200859"/>
                  <a:gd name="connsiteX5" fmla="*/ 2063593 w 2063593"/>
                  <a:gd name="connsiteY5" fmla="*/ 33477 h 200859"/>
                  <a:gd name="connsiteX6" fmla="*/ 2063593 w 2063593"/>
                  <a:gd name="connsiteY6" fmla="*/ 167382 h 200859"/>
                  <a:gd name="connsiteX7" fmla="*/ 2030116 w 2063593"/>
                  <a:gd name="connsiteY7" fmla="*/ 200859 h 200859"/>
                  <a:gd name="connsiteX8" fmla="*/ 1344603 w 2063593"/>
                  <a:gd name="connsiteY8" fmla="*/ 200859 h 200859"/>
                  <a:gd name="connsiteX9" fmla="*/ 738956 w 2063593"/>
                  <a:gd name="connsiteY9" fmla="*/ 200859 h 200859"/>
                  <a:gd name="connsiteX10" fmla="*/ 33477 w 2063593"/>
                  <a:gd name="connsiteY10" fmla="*/ 200859 h 200859"/>
                  <a:gd name="connsiteX11" fmla="*/ 0 w 2063593"/>
                  <a:gd name="connsiteY11" fmla="*/ 167382 h 200859"/>
                  <a:gd name="connsiteX12" fmla="*/ 0 w 2063593"/>
                  <a:gd name="connsiteY12" fmla="*/ 33477 h 20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63593" h="200859" fill="none" extrusionOk="0">
                    <a:moveTo>
                      <a:pt x="0" y="33477"/>
                    </a:moveTo>
                    <a:cubicBezTo>
                      <a:pt x="-4028" y="15650"/>
                      <a:pt x="14180" y="-557"/>
                      <a:pt x="33477" y="0"/>
                    </a:cubicBezTo>
                    <a:cubicBezTo>
                      <a:pt x="327232" y="16354"/>
                      <a:pt x="563256" y="25531"/>
                      <a:pt x="718990" y="0"/>
                    </a:cubicBezTo>
                    <a:cubicBezTo>
                      <a:pt x="874724" y="-25531"/>
                      <a:pt x="1249272" y="-12811"/>
                      <a:pt x="1384536" y="0"/>
                    </a:cubicBezTo>
                    <a:cubicBezTo>
                      <a:pt x="1519800" y="12811"/>
                      <a:pt x="1805807" y="-1158"/>
                      <a:pt x="2030116" y="0"/>
                    </a:cubicBezTo>
                    <a:cubicBezTo>
                      <a:pt x="2046373" y="92"/>
                      <a:pt x="2063904" y="14428"/>
                      <a:pt x="2063593" y="33477"/>
                    </a:cubicBezTo>
                    <a:cubicBezTo>
                      <a:pt x="2064905" y="74049"/>
                      <a:pt x="2061901" y="107762"/>
                      <a:pt x="2063593" y="167382"/>
                    </a:cubicBezTo>
                    <a:cubicBezTo>
                      <a:pt x="2064639" y="187941"/>
                      <a:pt x="2047733" y="201319"/>
                      <a:pt x="2030116" y="200859"/>
                    </a:cubicBezTo>
                    <a:cubicBezTo>
                      <a:pt x="1848501" y="230173"/>
                      <a:pt x="1573211" y="175859"/>
                      <a:pt x="1344603" y="200859"/>
                    </a:cubicBezTo>
                    <a:cubicBezTo>
                      <a:pt x="1115995" y="225859"/>
                      <a:pt x="933411" y="207364"/>
                      <a:pt x="738956" y="200859"/>
                    </a:cubicBezTo>
                    <a:cubicBezTo>
                      <a:pt x="544501" y="194354"/>
                      <a:pt x="359529" y="215920"/>
                      <a:pt x="33477" y="200859"/>
                    </a:cubicBezTo>
                    <a:cubicBezTo>
                      <a:pt x="18248" y="202000"/>
                      <a:pt x="873" y="188810"/>
                      <a:pt x="0" y="167382"/>
                    </a:cubicBezTo>
                    <a:cubicBezTo>
                      <a:pt x="-5280" y="131818"/>
                      <a:pt x="4609" y="88914"/>
                      <a:pt x="0" y="33477"/>
                    </a:cubicBezTo>
                    <a:close/>
                  </a:path>
                  <a:path w="2063593" h="200859" stroke="0" extrusionOk="0">
                    <a:moveTo>
                      <a:pt x="0" y="33477"/>
                    </a:moveTo>
                    <a:cubicBezTo>
                      <a:pt x="-816" y="14484"/>
                      <a:pt x="11940" y="1144"/>
                      <a:pt x="33477" y="0"/>
                    </a:cubicBezTo>
                    <a:cubicBezTo>
                      <a:pt x="372115" y="-502"/>
                      <a:pt x="569535" y="19379"/>
                      <a:pt x="738956" y="0"/>
                    </a:cubicBezTo>
                    <a:cubicBezTo>
                      <a:pt x="908377" y="-19379"/>
                      <a:pt x="1093092" y="25059"/>
                      <a:pt x="1384536" y="0"/>
                    </a:cubicBezTo>
                    <a:cubicBezTo>
                      <a:pt x="1675980" y="-25059"/>
                      <a:pt x="1745014" y="-18367"/>
                      <a:pt x="2030116" y="0"/>
                    </a:cubicBezTo>
                    <a:cubicBezTo>
                      <a:pt x="2047982" y="-2008"/>
                      <a:pt x="2064700" y="10890"/>
                      <a:pt x="2063593" y="33477"/>
                    </a:cubicBezTo>
                    <a:cubicBezTo>
                      <a:pt x="2066029" y="78774"/>
                      <a:pt x="2058004" y="115532"/>
                      <a:pt x="2063593" y="167382"/>
                    </a:cubicBezTo>
                    <a:cubicBezTo>
                      <a:pt x="2063452" y="184523"/>
                      <a:pt x="2047555" y="202318"/>
                      <a:pt x="2030116" y="200859"/>
                    </a:cubicBezTo>
                    <a:cubicBezTo>
                      <a:pt x="1810516" y="211454"/>
                      <a:pt x="1692292" y="179922"/>
                      <a:pt x="1404502" y="200859"/>
                    </a:cubicBezTo>
                    <a:cubicBezTo>
                      <a:pt x="1116712" y="221796"/>
                      <a:pt x="1059382" y="200369"/>
                      <a:pt x="738956" y="200859"/>
                    </a:cubicBezTo>
                    <a:cubicBezTo>
                      <a:pt x="418530" y="201349"/>
                      <a:pt x="315099" y="188202"/>
                      <a:pt x="33477" y="200859"/>
                    </a:cubicBezTo>
                    <a:cubicBezTo>
                      <a:pt x="16940" y="198930"/>
                      <a:pt x="2263" y="184412"/>
                      <a:pt x="0" y="167382"/>
                    </a:cubicBezTo>
                    <a:cubicBezTo>
                      <a:pt x="1482" y="124762"/>
                      <a:pt x="-4443" y="82703"/>
                      <a:pt x="0" y="33477"/>
                    </a:cubicBezTo>
                    <a:close/>
                  </a:path>
                </a:pathLst>
              </a:custGeom>
              <a:solidFill>
                <a:srgbClr val="E7E7EA"/>
              </a:solidFill>
              <a:ln>
                <a:solidFill>
                  <a:srgbClr val="E7E7EA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ound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1" name="Website Text Placeholder">
                <a:extLst>
                  <a:ext uri="{FF2B5EF4-FFF2-40B4-BE49-F238E27FC236}">
                    <a16:creationId xmlns:a16="http://schemas.microsoft.com/office/drawing/2014/main" id="{F1D4E6FE-B960-4E42-BBF9-409F51D201FA}"/>
                  </a:ext>
                </a:extLst>
              </p:cNvPr>
              <p:cNvSpPr txBox="1"/>
              <p:nvPr/>
            </p:nvSpPr>
            <p:spPr>
              <a:xfrm>
                <a:off x="2173982" y="2574236"/>
                <a:ext cx="837064" cy="12379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8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.com</a:t>
                </a:r>
              </a:p>
            </p:txBody>
          </p:sp>
          <p:pic>
            <p:nvPicPr>
              <p:cNvPr id="216" name="Refresh Graphic" descr="Refresh">
                <a:extLst>
                  <a:ext uri="{FF2B5EF4-FFF2-40B4-BE49-F238E27FC236}">
                    <a16:creationId xmlns:a16="http://schemas.microsoft.com/office/drawing/2014/main" id="{DB82A3BE-75E2-4507-B19B-754181FAA4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 rot="18246195">
                <a:off x="3460112" y="2586875"/>
                <a:ext cx="117597" cy="117597"/>
              </a:xfrm>
              <a:prstGeom prst="rect">
                <a:avLst/>
              </a:prstGeom>
            </p:spPr>
          </p:pic>
        </p:grpSp>
        <p:grpSp>
          <p:nvGrpSpPr>
            <p:cNvPr id="155" name="Mobile Header">
              <a:extLst>
                <a:ext uri="{FF2B5EF4-FFF2-40B4-BE49-F238E27FC236}">
                  <a16:creationId xmlns:a16="http://schemas.microsoft.com/office/drawing/2014/main" id="{99720B41-E7BF-474F-A1F0-44C335AA4657}"/>
                </a:ext>
              </a:extLst>
            </p:cNvPr>
            <p:cNvGrpSpPr/>
            <p:nvPr/>
          </p:nvGrpSpPr>
          <p:grpSpPr>
            <a:xfrm>
              <a:off x="1519184" y="2406489"/>
              <a:ext cx="2129699" cy="115185"/>
              <a:chOff x="1519184" y="2406489"/>
              <a:chExt cx="2129699" cy="115185"/>
            </a:xfrm>
          </p:grpSpPr>
          <p:grpSp>
            <p:nvGrpSpPr>
              <p:cNvPr id="4" name="Wifi Graphic">
                <a:extLst>
                  <a:ext uri="{FF2B5EF4-FFF2-40B4-BE49-F238E27FC236}">
                    <a16:creationId xmlns:a16="http://schemas.microsoft.com/office/drawing/2014/main" id="{C32FA10C-68EE-4A62-A9CB-2E7F3299185D}"/>
                  </a:ext>
                </a:extLst>
              </p:cNvPr>
              <p:cNvGrpSpPr/>
              <p:nvPr/>
            </p:nvGrpSpPr>
            <p:grpSpPr>
              <a:xfrm>
                <a:off x="1519184" y="2443972"/>
                <a:ext cx="76986" cy="49748"/>
                <a:chOff x="1519184" y="2443972"/>
                <a:chExt cx="76986" cy="49748"/>
              </a:xfrm>
            </p:grpSpPr>
            <p:sp>
              <p:nvSpPr>
                <p:cNvPr id="211" name="Rectangle 4">
                  <a:extLst>
                    <a:ext uri="{FF2B5EF4-FFF2-40B4-BE49-F238E27FC236}">
                      <a16:creationId xmlns:a16="http://schemas.microsoft.com/office/drawing/2014/main" id="{BC630784-9BF2-49ED-AA6D-F8CEC7ED5C01}"/>
                    </a:ext>
                  </a:extLst>
                </p:cNvPr>
                <p:cNvSpPr/>
                <p:nvPr/>
              </p:nvSpPr>
              <p:spPr>
                <a:xfrm>
                  <a:off x="1588109" y="2443972"/>
                  <a:ext cx="8061" cy="48368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10" name="Rectangle 3">
                  <a:extLst>
                    <a:ext uri="{FF2B5EF4-FFF2-40B4-BE49-F238E27FC236}">
                      <a16:creationId xmlns:a16="http://schemas.microsoft.com/office/drawing/2014/main" id="{B84EC67C-91AF-4649-A46A-69F62E1899F2}"/>
                    </a:ext>
                  </a:extLst>
                </p:cNvPr>
                <p:cNvSpPr/>
                <p:nvPr/>
              </p:nvSpPr>
              <p:spPr>
                <a:xfrm>
                  <a:off x="1566245" y="2451826"/>
                  <a:ext cx="8061" cy="40306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9" name="Rectangle 2">
                  <a:extLst>
                    <a:ext uri="{FF2B5EF4-FFF2-40B4-BE49-F238E27FC236}">
                      <a16:creationId xmlns:a16="http://schemas.microsoft.com/office/drawing/2014/main" id="{1BFC8F03-E2E4-457B-8F00-7B4C66A3E84F}"/>
                    </a:ext>
                  </a:extLst>
                </p:cNvPr>
                <p:cNvSpPr/>
                <p:nvPr/>
              </p:nvSpPr>
              <p:spPr>
                <a:xfrm>
                  <a:off x="1542714" y="2461475"/>
                  <a:ext cx="8061" cy="32245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8" name="Rectangle 1">
                  <a:extLst>
                    <a:ext uri="{FF2B5EF4-FFF2-40B4-BE49-F238E27FC236}">
                      <a16:creationId xmlns:a16="http://schemas.microsoft.com/office/drawing/2014/main" id="{FC9FDA35-5A37-4CC2-914B-3BC83029043E}"/>
                    </a:ext>
                  </a:extLst>
                </p:cNvPr>
                <p:cNvSpPr/>
                <p:nvPr/>
              </p:nvSpPr>
              <p:spPr>
                <a:xfrm>
                  <a:off x="1519184" y="2474221"/>
                  <a:ext cx="8061" cy="16123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2" name="Time">
                <a:extLst>
                  <a:ext uri="{FF2B5EF4-FFF2-40B4-BE49-F238E27FC236}">
                    <a16:creationId xmlns:a16="http://schemas.microsoft.com/office/drawing/2014/main" id="{0ED18F30-5FC6-44D6-A204-B29FCF8228CC}"/>
                  </a:ext>
                </a:extLst>
              </p:cNvPr>
              <p:cNvSpPr txBox="1"/>
              <p:nvPr/>
            </p:nvSpPr>
            <p:spPr>
              <a:xfrm>
                <a:off x="2432687" y="2427656"/>
                <a:ext cx="315333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8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:15 PM</a:t>
                </a:r>
              </a:p>
            </p:txBody>
          </p:sp>
          <p:sp>
            <p:nvSpPr>
              <p:cNvPr id="213" name="Battery Percentage">
                <a:extLst>
                  <a:ext uri="{FF2B5EF4-FFF2-40B4-BE49-F238E27FC236}">
                    <a16:creationId xmlns:a16="http://schemas.microsoft.com/office/drawing/2014/main" id="{7E2E8A04-E46B-49B5-B317-097E78F83071}"/>
                  </a:ext>
                </a:extLst>
              </p:cNvPr>
              <p:cNvSpPr txBox="1"/>
              <p:nvPr/>
            </p:nvSpPr>
            <p:spPr>
              <a:xfrm>
                <a:off x="3371527" y="2430363"/>
                <a:ext cx="132238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18%</a:t>
                </a:r>
              </a:p>
            </p:txBody>
          </p:sp>
          <p:pic>
            <p:nvPicPr>
              <p:cNvPr id="215" name="Signal Graphic" descr="Wi Fi">
                <a:extLst>
                  <a:ext uri="{FF2B5EF4-FFF2-40B4-BE49-F238E27FC236}">
                    <a16:creationId xmlns:a16="http://schemas.microsoft.com/office/drawing/2014/main" id="{8036312C-56F1-4C1E-AA56-F6092622F1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1605822" y="2406489"/>
                <a:ext cx="108816" cy="108816"/>
              </a:xfrm>
              <a:prstGeom prst="rect">
                <a:avLst/>
              </a:prstGeom>
            </p:spPr>
          </p:pic>
          <p:pic>
            <p:nvPicPr>
              <p:cNvPr id="218" name="Battery Icon" descr="Empty battery">
                <a:extLst>
                  <a:ext uri="{FF2B5EF4-FFF2-40B4-BE49-F238E27FC236}">
                    <a16:creationId xmlns:a16="http://schemas.microsoft.com/office/drawing/2014/main" id="{A5551C49-EF84-465E-9BC6-CC74EF197F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p:blipFill>
            <p:spPr>
              <a:xfrm>
                <a:off x="3516646" y="2412857"/>
                <a:ext cx="132237" cy="108817"/>
              </a:xfrm>
              <a:prstGeom prst="rect">
                <a:avLst/>
              </a:prstGeom>
            </p:spPr>
          </p:pic>
        </p:grpSp>
        <p:grpSp>
          <p:nvGrpSpPr>
            <p:cNvPr id="33" name="Mobile Placeholder">
              <a:extLst>
                <a:ext uri="{FF2B5EF4-FFF2-40B4-BE49-F238E27FC236}">
                  <a16:creationId xmlns:a16="http://schemas.microsoft.com/office/drawing/2014/main" id="{315A93B9-D822-4CD4-B42E-116002911697}"/>
                </a:ext>
              </a:extLst>
            </p:cNvPr>
            <p:cNvGrpSpPr/>
            <p:nvPr/>
          </p:nvGrpSpPr>
          <p:grpSpPr>
            <a:xfrm>
              <a:off x="1357224" y="2005431"/>
              <a:ext cx="2449955" cy="4490624"/>
              <a:chOff x="2633629" y="2629128"/>
              <a:chExt cx="1135777" cy="2228569"/>
            </a:xfrm>
          </p:grpSpPr>
          <p:sp>
            <p:nvSpPr>
              <p:cNvPr id="35" name="Mobile Device Body and Screen">
                <a:extLst>
                  <a:ext uri="{FF2B5EF4-FFF2-40B4-BE49-F238E27FC236}">
                    <a16:creationId xmlns:a16="http://schemas.microsoft.com/office/drawing/2014/main" id="{4B48FC22-8ED9-49B0-8BE4-D3277C4B4606}"/>
                  </a:ext>
                </a:extLst>
              </p:cNvPr>
              <p:cNvSpPr/>
              <p:nvPr/>
            </p:nvSpPr>
            <p:spPr>
              <a:xfrm>
                <a:off x="2649723" y="2629583"/>
                <a:ext cx="1102071" cy="2228114"/>
              </a:xfrm>
              <a:custGeom>
                <a:avLst/>
                <a:gdLst>
                  <a:gd name="connsiteX0" fmla="*/ 40280 w 1102071"/>
                  <a:gd name="connsiteY0" fmla="*/ 199535 h 2228114"/>
                  <a:gd name="connsiteX1" fmla="*/ 40280 w 1102071"/>
                  <a:gd name="connsiteY1" fmla="*/ 1992572 h 2228114"/>
                  <a:gd name="connsiteX2" fmla="*/ 1061792 w 1102071"/>
                  <a:gd name="connsiteY2" fmla="*/ 1992572 h 2228114"/>
                  <a:gd name="connsiteX3" fmla="*/ 1061792 w 1102071"/>
                  <a:gd name="connsiteY3" fmla="*/ 199535 h 2228114"/>
                  <a:gd name="connsiteX4" fmla="*/ 152483 w 1102071"/>
                  <a:gd name="connsiteY4" fmla="*/ 0 h 2228114"/>
                  <a:gd name="connsiteX5" fmla="*/ 949588 w 1102071"/>
                  <a:gd name="connsiteY5" fmla="*/ 0 h 2228114"/>
                  <a:gd name="connsiteX6" fmla="*/ 1102071 w 1102071"/>
                  <a:gd name="connsiteY6" fmla="*/ 152483 h 2228114"/>
                  <a:gd name="connsiteX7" fmla="*/ 1102071 w 1102071"/>
                  <a:gd name="connsiteY7" fmla="*/ 2075631 h 2228114"/>
                  <a:gd name="connsiteX8" fmla="*/ 949588 w 1102071"/>
                  <a:gd name="connsiteY8" fmla="*/ 2228114 h 2228114"/>
                  <a:gd name="connsiteX9" fmla="*/ 152483 w 1102071"/>
                  <a:gd name="connsiteY9" fmla="*/ 2228114 h 2228114"/>
                  <a:gd name="connsiteX10" fmla="*/ 0 w 1102071"/>
                  <a:gd name="connsiteY10" fmla="*/ 2075631 h 2228114"/>
                  <a:gd name="connsiteX11" fmla="*/ 0 w 1102071"/>
                  <a:gd name="connsiteY11" fmla="*/ 152483 h 2228114"/>
                  <a:gd name="connsiteX12" fmla="*/ 152483 w 1102071"/>
                  <a:gd name="connsiteY12" fmla="*/ 0 h 222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071" h="2228114">
                    <a:moveTo>
                      <a:pt x="40280" y="199535"/>
                    </a:moveTo>
                    <a:lnTo>
                      <a:pt x="40280" y="1992572"/>
                    </a:lnTo>
                    <a:lnTo>
                      <a:pt x="1061792" y="1992572"/>
                    </a:lnTo>
                    <a:lnTo>
                      <a:pt x="1061792" y="199535"/>
                    </a:lnTo>
                    <a:close/>
                    <a:moveTo>
                      <a:pt x="152483" y="0"/>
                    </a:moveTo>
                    <a:lnTo>
                      <a:pt x="949588" y="0"/>
                    </a:lnTo>
                    <a:cubicBezTo>
                      <a:pt x="1033802" y="0"/>
                      <a:pt x="1102071" y="68269"/>
                      <a:pt x="1102071" y="152483"/>
                    </a:cubicBezTo>
                    <a:lnTo>
                      <a:pt x="1102071" y="2075631"/>
                    </a:lnTo>
                    <a:cubicBezTo>
                      <a:pt x="1102071" y="2159845"/>
                      <a:pt x="1033802" y="2228114"/>
                      <a:pt x="949588" y="2228114"/>
                    </a:cubicBezTo>
                    <a:lnTo>
                      <a:pt x="152483" y="2228114"/>
                    </a:lnTo>
                    <a:cubicBezTo>
                      <a:pt x="68269" y="2228114"/>
                      <a:pt x="0" y="2159845"/>
                      <a:pt x="0" y="2075631"/>
                    </a:cubicBezTo>
                    <a:lnTo>
                      <a:pt x="0" y="152483"/>
                    </a:lnTo>
                    <a:cubicBezTo>
                      <a:pt x="0" y="68269"/>
                      <a:pt x="68269" y="0"/>
                      <a:pt x="15248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Mobile Home Button">
                <a:extLst>
                  <a:ext uri="{FF2B5EF4-FFF2-40B4-BE49-F238E27FC236}">
                    <a16:creationId xmlns:a16="http://schemas.microsoft.com/office/drawing/2014/main" id="{B445ABBC-557D-44CE-BFFF-AAB462F3C174}"/>
                  </a:ext>
                </a:extLst>
              </p:cNvPr>
              <p:cNvSpPr/>
              <p:nvPr/>
            </p:nvSpPr>
            <p:spPr>
              <a:xfrm>
                <a:off x="3091364" y="4689451"/>
                <a:ext cx="218789" cy="107255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Rounded Rectangle 1">
                <a:extLst>
                  <a:ext uri="{FF2B5EF4-FFF2-40B4-BE49-F238E27FC236}">
                    <a16:creationId xmlns:a16="http://schemas.microsoft.com/office/drawing/2014/main" id="{A511AA62-61E0-4CED-8378-9AF161F143E1}"/>
                  </a:ext>
                </a:extLst>
              </p:cNvPr>
              <p:cNvSpPr/>
              <p:nvPr/>
            </p:nvSpPr>
            <p:spPr>
              <a:xfrm>
                <a:off x="3111615" y="2716500"/>
                <a:ext cx="177522" cy="26474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Oval 3">
                <a:extLst>
                  <a:ext uri="{FF2B5EF4-FFF2-40B4-BE49-F238E27FC236}">
                    <a16:creationId xmlns:a16="http://schemas.microsoft.com/office/drawing/2014/main" id="{937B488F-E884-4CAB-885C-A1E1A73F7687}"/>
                  </a:ext>
                </a:extLst>
              </p:cNvPr>
              <p:cNvSpPr/>
              <p:nvPr/>
            </p:nvSpPr>
            <p:spPr>
              <a:xfrm flipH="1">
                <a:off x="3352328" y="2714956"/>
                <a:ext cx="31884" cy="31884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Oval 2">
                <a:extLst>
                  <a:ext uri="{FF2B5EF4-FFF2-40B4-BE49-F238E27FC236}">
                    <a16:creationId xmlns:a16="http://schemas.microsoft.com/office/drawing/2014/main" id="{86E44024-5E46-4E3C-97C9-67EE4B61178E}"/>
                  </a:ext>
                </a:extLst>
              </p:cNvPr>
              <p:cNvSpPr/>
              <p:nvPr/>
            </p:nvSpPr>
            <p:spPr>
              <a:xfrm>
                <a:off x="29988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Oval 1">
                <a:extLst>
                  <a:ext uri="{FF2B5EF4-FFF2-40B4-BE49-F238E27FC236}">
                    <a16:creationId xmlns:a16="http://schemas.microsoft.com/office/drawing/2014/main" id="{AB01DBE1-EC39-4C92-8947-58AFE1F3C834}"/>
                  </a:ext>
                </a:extLst>
              </p:cNvPr>
              <p:cNvSpPr/>
              <p:nvPr/>
            </p:nvSpPr>
            <p:spPr>
              <a:xfrm>
                <a:off x="28640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Mobile Button 3">
                <a:extLst>
                  <a:ext uri="{FF2B5EF4-FFF2-40B4-BE49-F238E27FC236}">
                    <a16:creationId xmlns:a16="http://schemas.microsoft.com/office/drawing/2014/main" id="{32BB68D3-A11C-4277-B732-399AA33A6AB7}"/>
                  </a:ext>
                </a:extLst>
              </p:cNvPr>
              <p:cNvSpPr/>
              <p:nvPr/>
            </p:nvSpPr>
            <p:spPr>
              <a:xfrm>
                <a:off x="2633630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Mobile Button 2">
                <a:extLst>
                  <a:ext uri="{FF2B5EF4-FFF2-40B4-BE49-F238E27FC236}">
                    <a16:creationId xmlns:a16="http://schemas.microsoft.com/office/drawing/2014/main" id="{B8224F22-1917-463D-B84A-8E4C095356C7}"/>
                  </a:ext>
                </a:extLst>
              </p:cNvPr>
              <p:cNvSpPr/>
              <p:nvPr/>
            </p:nvSpPr>
            <p:spPr>
              <a:xfrm>
                <a:off x="2633629" y="3282770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Mobile Button 1">
                <a:extLst>
                  <a:ext uri="{FF2B5EF4-FFF2-40B4-BE49-F238E27FC236}">
                    <a16:creationId xmlns:a16="http://schemas.microsoft.com/office/drawing/2014/main" id="{02E5A76E-9EF2-4C78-A01C-8D811D96825B}"/>
                  </a:ext>
                </a:extLst>
              </p:cNvPr>
              <p:cNvSpPr/>
              <p:nvPr/>
            </p:nvSpPr>
            <p:spPr>
              <a:xfrm>
                <a:off x="3753504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Mobile Device Outline">
                <a:extLst>
                  <a:ext uri="{FF2B5EF4-FFF2-40B4-BE49-F238E27FC236}">
                    <a16:creationId xmlns:a16="http://schemas.microsoft.com/office/drawing/2014/main" id="{F4E42FF0-212A-4BDD-AD01-007DC27752FE}"/>
                  </a:ext>
                </a:extLst>
              </p:cNvPr>
              <p:cNvSpPr/>
              <p:nvPr/>
            </p:nvSpPr>
            <p:spPr>
              <a:xfrm>
                <a:off x="2650578" y="2629128"/>
                <a:ext cx="1102071" cy="2228114"/>
              </a:xfrm>
              <a:prstGeom prst="roundRect">
                <a:avLst>
                  <a:gd name="adj" fmla="val 1383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9" name="Slide Subtitle">
            <a:extLst>
              <a:ext uri="{FF2B5EF4-FFF2-40B4-BE49-F238E27FC236}">
                <a16:creationId xmlns:a16="http://schemas.microsoft.com/office/drawing/2014/main" id="{EA4B24E6-FCC0-4C4A-A8DE-DB09BC975AF2}"/>
              </a:ext>
            </a:extLst>
          </p:cNvPr>
          <p:cNvSpPr txBox="1">
            <a:spLocks/>
          </p:cNvSpPr>
          <p:nvPr/>
        </p:nvSpPr>
        <p:spPr>
          <a:xfrm>
            <a:off x="1297414" y="1133329"/>
            <a:ext cx="10057841" cy="553998"/>
          </a:xfrm>
          <a:prstGeom prst="rect">
            <a:avLst/>
          </a:prstGeom>
        </p:spPr>
        <p:txBody>
          <a:bodyPr vert="horz" wrap="square" lIns="0" tIns="91440" rIns="146304" bIns="91440" rtlCol="0" anchor="ctr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kern="1200" spc="-49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029" b="1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6" indent="0" algn="l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6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1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You can iterate with a colleague and make changes back and forth while with a sketched style. And when you’re done, you can just remove that sketched style and show it as a final design, ready to be shared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3C4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8" name="Slide Title">
            <a:extLst>
              <a:ext uri="{FF2B5EF4-FFF2-40B4-BE49-F238E27FC236}">
                <a16:creationId xmlns:a16="http://schemas.microsoft.com/office/drawing/2014/main" id="{CCB42CEB-4711-4554-9287-52D683107BC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297415" y="685182"/>
            <a:ext cx="3665248" cy="40615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37" b="0" strike="noStrike" kern="1200" cap="none" spc="-49" baseline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D83B01"/>
                </a:solidFill>
                <a:latin typeface="Segoe UI Semibold"/>
              </a:rPr>
              <a:t>Draft your designs</a:t>
            </a:r>
            <a:endParaRPr kumimoji="0" lang="en-US" sz="2000" b="0" i="0" u="none" strike="noStrike" kern="1200" cap="none" spc="-49" normalizeH="0" baseline="0" noProof="0" dirty="0">
              <a:ln w="3175">
                <a:noFill/>
              </a:ln>
              <a:solidFill>
                <a:srgbClr val="D83B01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377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955BCE-1795-4CD9-AA49-141BC3292A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174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955BCE-1795-4CD9-AA49-141BC3292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" name="Slide Title">
            <a:extLst>
              <a:ext uri="{FF2B5EF4-FFF2-40B4-BE49-F238E27FC236}">
                <a16:creationId xmlns:a16="http://schemas.microsoft.com/office/drawing/2014/main" id="{A146AB45-9755-44A2-B735-37D28433F9F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45907" y="502365"/>
            <a:ext cx="6885807" cy="77733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Group Details</a:t>
            </a:r>
          </a:p>
        </p:txBody>
      </p:sp>
      <p:grpSp>
        <p:nvGrpSpPr>
          <p:cNvPr id="17" name="Tablet Device Outline" descr="A mockup of website interface on a tablet.">
            <a:extLst>
              <a:ext uri="{FF2B5EF4-FFF2-40B4-BE49-F238E27FC236}">
                <a16:creationId xmlns:a16="http://schemas.microsoft.com/office/drawing/2014/main" id="{A1F0DC25-F6FE-4EFA-920C-7F66BB83FADA}"/>
              </a:ext>
            </a:extLst>
          </p:cNvPr>
          <p:cNvGrpSpPr/>
          <p:nvPr/>
        </p:nvGrpSpPr>
        <p:grpSpPr>
          <a:xfrm>
            <a:off x="248123" y="1439097"/>
            <a:ext cx="6884027" cy="4853837"/>
            <a:chOff x="2241176" y="394364"/>
            <a:chExt cx="8606117" cy="6068060"/>
          </a:xfrm>
        </p:grpSpPr>
        <p:grpSp>
          <p:nvGrpSpPr>
            <p:cNvPr id="12" name="Address Bar Header">
              <a:extLst>
                <a:ext uri="{FF2B5EF4-FFF2-40B4-BE49-F238E27FC236}">
                  <a16:creationId xmlns:a16="http://schemas.microsoft.com/office/drawing/2014/main" id="{37CF4F67-58F9-4797-8C95-9438AD34E693}"/>
                </a:ext>
              </a:extLst>
            </p:cNvPr>
            <p:cNvGrpSpPr/>
            <p:nvPr/>
          </p:nvGrpSpPr>
          <p:grpSpPr>
            <a:xfrm>
              <a:off x="2547215" y="716132"/>
              <a:ext cx="7667327" cy="332305"/>
              <a:chOff x="4952557" y="2266350"/>
              <a:chExt cx="5633142" cy="244143"/>
            </a:xfrm>
          </p:grpSpPr>
          <p:sp>
            <p:nvSpPr>
              <p:cNvPr id="517" name="Address Bar Header Full Background">
                <a:extLst>
                  <a:ext uri="{FF2B5EF4-FFF2-40B4-BE49-F238E27FC236}">
                    <a16:creationId xmlns:a16="http://schemas.microsoft.com/office/drawing/2014/main" id="{815F0436-ABE1-41F9-BF38-7F677BC89B8A}"/>
                  </a:ext>
                </a:extLst>
              </p:cNvPr>
              <p:cNvSpPr/>
              <p:nvPr/>
            </p:nvSpPr>
            <p:spPr>
              <a:xfrm>
                <a:off x="4969003" y="2266350"/>
                <a:ext cx="5592857" cy="211612"/>
              </a:xfrm>
              <a:prstGeom prst="rect">
                <a:avLst/>
              </a:prstGeom>
              <a:solidFill>
                <a:srgbClr val="CBC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18" name="See All Tabs Icon">
                <a:extLst>
                  <a:ext uri="{FF2B5EF4-FFF2-40B4-BE49-F238E27FC236}">
                    <a16:creationId xmlns:a16="http://schemas.microsoft.com/office/drawing/2014/main" id="{7D56C874-0241-4160-BDA3-F0520D25A569}"/>
                  </a:ext>
                </a:extLst>
              </p:cNvPr>
              <p:cNvGrpSpPr/>
              <p:nvPr/>
            </p:nvGrpSpPr>
            <p:grpSpPr>
              <a:xfrm>
                <a:off x="5026608" y="2276890"/>
                <a:ext cx="74136" cy="73515"/>
                <a:chOff x="4561159" y="1229706"/>
                <a:chExt cx="107805" cy="106902"/>
              </a:xfrm>
            </p:grpSpPr>
            <p:pic>
              <p:nvPicPr>
                <p:cNvPr id="555" name="Website Icon 2" descr="Browser window">
                  <a:extLst>
                    <a:ext uri="{FF2B5EF4-FFF2-40B4-BE49-F238E27FC236}">
                      <a16:creationId xmlns:a16="http://schemas.microsoft.com/office/drawing/2014/main" id="{8DF59F83-0501-43FA-B645-E929C06D97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61159" y="1229706"/>
                  <a:ext cx="91821" cy="91821"/>
                </a:xfrm>
                <a:prstGeom prst="rect">
                  <a:avLst/>
                </a:prstGeom>
              </p:spPr>
            </p:pic>
            <p:pic>
              <p:nvPicPr>
                <p:cNvPr id="556" name="Website Icon 1" descr="Browser window">
                  <a:extLst>
                    <a:ext uri="{FF2B5EF4-FFF2-40B4-BE49-F238E27FC236}">
                      <a16:creationId xmlns:a16="http://schemas.microsoft.com/office/drawing/2014/main" id="{47503B5F-13A0-40D6-B515-5E324590A1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7143" y="1244787"/>
                  <a:ext cx="91821" cy="91821"/>
                </a:xfrm>
                <a:prstGeom prst="rect">
                  <a:avLst/>
                </a:prstGeom>
              </p:spPr>
            </p:pic>
            <p:sp>
              <p:nvSpPr>
                <p:cNvPr id="557" name="Rectangle">
                  <a:extLst>
                    <a:ext uri="{FF2B5EF4-FFF2-40B4-BE49-F238E27FC236}">
                      <a16:creationId xmlns:a16="http://schemas.microsoft.com/office/drawing/2014/main" id="{D5823150-B2F7-4EF1-8DE5-C38BCDECB873}"/>
                    </a:ext>
                  </a:extLst>
                </p:cNvPr>
                <p:cNvSpPr/>
                <p:nvPr/>
              </p:nvSpPr>
              <p:spPr>
                <a:xfrm>
                  <a:off x="4589484" y="1274842"/>
                  <a:ext cx="64008" cy="36576"/>
                </a:xfrm>
                <a:prstGeom prst="rect">
                  <a:avLst/>
                </a:prstGeom>
                <a:solidFill>
                  <a:srgbClr val="CBCB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19" name="Dropdown Arrow">
                <a:extLst>
                  <a:ext uri="{FF2B5EF4-FFF2-40B4-BE49-F238E27FC236}">
                    <a16:creationId xmlns:a16="http://schemas.microsoft.com/office/drawing/2014/main" id="{6BAFFFB0-3669-464B-BA89-B02DD7F5A04C}"/>
                  </a:ext>
                </a:extLst>
              </p:cNvPr>
              <p:cNvGrpSpPr/>
              <p:nvPr/>
            </p:nvGrpSpPr>
            <p:grpSpPr>
              <a:xfrm rot="18531467">
                <a:off x="5924692" y="2300805"/>
                <a:ext cx="31986" cy="31986"/>
                <a:chOff x="1411369" y="3109610"/>
                <a:chExt cx="182868" cy="191529"/>
              </a:xfrm>
            </p:grpSpPr>
            <p:cxnSp>
              <p:nvCxnSpPr>
                <p:cNvPr id="553" name="Line 2">
                  <a:extLst>
                    <a:ext uri="{FF2B5EF4-FFF2-40B4-BE49-F238E27FC236}">
                      <a16:creationId xmlns:a16="http://schemas.microsoft.com/office/drawing/2014/main" id="{61857E4E-E51E-4009-9E85-52C0D05E83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4" name="Line 1">
                  <a:extLst>
                    <a:ext uri="{FF2B5EF4-FFF2-40B4-BE49-F238E27FC236}">
                      <a16:creationId xmlns:a16="http://schemas.microsoft.com/office/drawing/2014/main" id="{0FAB30C5-6C5F-4FFE-9A93-2882BF9751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0" name="Address Bar Header Background">
                <a:extLst>
                  <a:ext uri="{FF2B5EF4-FFF2-40B4-BE49-F238E27FC236}">
                    <a16:creationId xmlns:a16="http://schemas.microsoft.com/office/drawing/2014/main" id="{C7F3D26F-C694-43A0-BBB9-089EBC5D897F}"/>
                  </a:ext>
                </a:extLst>
              </p:cNvPr>
              <p:cNvSpPr/>
              <p:nvPr/>
            </p:nvSpPr>
            <p:spPr>
              <a:xfrm>
                <a:off x="4952557" y="2352880"/>
                <a:ext cx="5633142" cy="146768"/>
              </a:xfrm>
              <a:custGeom>
                <a:avLst/>
                <a:gdLst>
                  <a:gd name="connsiteX0" fmla="*/ 0 w 5633142"/>
                  <a:gd name="connsiteY0" fmla="*/ 0 h 146768"/>
                  <a:gd name="connsiteX1" fmla="*/ 513242 w 5633142"/>
                  <a:gd name="connsiteY1" fmla="*/ 0 h 146768"/>
                  <a:gd name="connsiteX2" fmla="*/ 1082815 w 5633142"/>
                  <a:gd name="connsiteY2" fmla="*/ 0 h 146768"/>
                  <a:gd name="connsiteX3" fmla="*/ 1596057 w 5633142"/>
                  <a:gd name="connsiteY3" fmla="*/ 0 h 146768"/>
                  <a:gd name="connsiteX4" fmla="*/ 2278293 w 5633142"/>
                  <a:gd name="connsiteY4" fmla="*/ 0 h 146768"/>
                  <a:gd name="connsiteX5" fmla="*/ 2904198 w 5633142"/>
                  <a:gd name="connsiteY5" fmla="*/ 0 h 146768"/>
                  <a:gd name="connsiteX6" fmla="*/ 3530102 w 5633142"/>
                  <a:gd name="connsiteY6" fmla="*/ 0 h 146768"/>
                  <a:gd name="connsiteX7" fmla="*/ 4268670 w 5633142"/>
                  <a:gd name="connsiteY7" fmla="*/ 0 h 146768"/>
                  <a:gd name="connsiteX8" fmla="*/ 4950906 w 5633142"/>
                  <a:gd name="connsiteY8" fmla="*/ 0 h 146768"/>
                  <a:gd name="connsiteX9" fmla="*/ 5633142 w 5633142"/>
                  <a:gd name="connsiteY9" fmla="*/ 0 h 146768"/>
                  <a:gd name="connsiteX10" fmla="*/ 5633142 w 5633142"/>
                  <a:gd name="connsiteY10" fmla="*/ 146768 h 146768"/>
                  <a:gd name="connsiteX11" fmla="*/ 5176232 w 5633142"/>
                  <a:gd name="connsiteY11" fmla="*/ 146768 h 146768"/>
                  <a:gd name="connsiteX12" fmla="*/ 4662990 w 5633142"/>
                  <a:gd name="connsiteY12" fmla="*/ 146768 h 146768"/>
                  <a:gd name="connsiteX13" fmla="*/ 3980754 w 5633142"/>
                  <a:gd name="connsiteY13" fmla="*/ 146768 h 146768"/>
                  <a:gd name="connsiteX14" fmla="*/ 3242186 w 5633142"/>
                  <a:gd name="connsiteY14" fmla="*/ 146768 h 146768"/>
                  <a:gd name="connsiteX15" fmla="*/ 2672613 w 5633142"/>
                  <a:gd name="connsiteY15" fmla="*/ 146768 h 146768"/>
                  <a:gd name="connsiteX16" fmla="*/ 1934045 w 5633142"/>
                  <a:gd name="connsiteY16" fmla="*/ 146768 h 146768"/>
                  <a:gd name="connsiteX17" fmla="*/ 1420804 w 5633142"/>
                  <a:gd name="connsiteY17" fmla="*/ 146768 h 146768"/>
                  <a:gd name="connsiteX18" fmla="*/ 963893 w 5633142"/>
                  <a:gd name="connsiteY18" fmla="*/ 146768 h 146768"/>
                  <a:gd name="connsiteX19" fmla="*/ 0 w 5633142"/>
                  <a:gd name="connsiteY19" fmla="*/ 146768 h 146768"/>
                  <a:gd name="connsiteX20" fmla="*/ 0 w 5633142"/>
                  <a:gd name="connsiteY20" fmla="*/ 0 h 14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33142" h="146768" fill="none" extrusionOk="0">
                    <a:moveTo>
                      <a:pt x="0" y="0"/>
                    </a:moveTo>
                    <a:cubicBezTo>
                      <a:pt x="204862" y="16262"/>
                      <a:pt x="264489" y="5114"/>
                      <a:pt x="513242" y="0"/>
                    </a:cubicBezTo>
                    <a:cubicBezTo>
                      <a:pt x="761995" y="-5114"/>
                      <a:pt x="838640" y="1136"/>
                      <a:pt x="1082815" y="0"/>
                    </a:cubicBezTo>
                    <a:cubicBezTo>
                      <a:pt x="1326990" y="-1136"/>
                      <a:pt x="1384926" y="1296"/>
                      <a:pt x="1596057" y="0"/>
                    </a:cubicBezTo>
                    <a:cubicBezTo>
                      <a:pt x="1807188" y="-1296"/>
                      <a:pt x="1961283" y="-951"/>
                      <a:pt x="2278293" y="0"/>
                    </a:cubicBezTo>
                    <a:cubicBezTo>
                      <a:pt x="2595303" y="951"/>
                      <a:pt x="2708047" y="-4796"/>
                      <a:pt x="2904198" y="0"/>
                    </a:cubicBezTo>
                    <a:cubicBezTo>
                      <a:pt x="3100349" y="4796"/>
                      <a:pt x="3404605" y="-22152"/>
                      <a:pt x="3530102" y="0"/>
                    </a:cubicBezTo>
                    <a:cubicBezTo>
                      <a:pt x="3655599" y="22152"/>
                      <a:pt x="3969305" y="8165"/>
                      <a:pt x="4268670" y="0"/>
                    </a:cubicBezTo>
                    <a:cubicBezTo>
                      <a:pt x="4568035" y="-8165"/>
                      <a:pt x="4643779" y="6639"/>
                      <a:pt x="4950906" y="0"/>
                    </a:cubicBezTo>
                    <a:cubicBezTo>
                      <a:pt x="5258033" y="-6639"/>
                      <a:pt x="5447660" y="-22788"/>
                      <a:pt x="5633142" y="0"/>
                    </a:cubicBezTo>
                    <a:cubicBezTo>
                      <a:pt x="5628902" y="66055"/>
                      <a:pt x="5637247" y="98292"/>
                      <a:pt x="5633142" y="146768"/>
                    </a:cubicBezTo>
                    <a:cubicBezTo>
                      <a:pt x="5484023" y="133466"/>
                      <a:pt x="5378091" y="139672"/>
                      <a:pt x="5176232" y="146768"/>
                    </a:cubicBezTo>
                    <a:cubicBezTo>
                      <a:pt x="4974373" y="153865"/>
                      <a:pt x="4786230" y="137056"/>
                      <a:pt x="4662990" y="146768"/>
                    </a:cubicBezTo>
                    <a:cubicBezTo>
                      <a:pt x="4539750" y="156480"/>
                      <a:pt x="4228921" y="168795"/>
                      <a:pt x="3980754" y="146768"/>
                    </a:cubicBezTo>
                    <a:cubicBezTo>
                      <a:pt x="3732587" y="124741"/>
                      <a:pt x="3577943" y="131533"/>
                      <a:pt x="3242186" y="146768"/>
                    </a:cubicBezTo>
                    <a:cubicBezTo>
                      <a:pt x="2906429" y="162003"/>
                      <a:pt x="2874932" y="131901"/>
                      <a:pt x="2672613" y="146768"/>
                    </a:cubicBezTo>
                    <a:cubicBezTo>
                      <a:pt x="2470294" y="161635"/>
                      <a:pt x="2118789" y="163689"/>
                      <a:pt x="1934045" y="146768"/>
                    </a:cubicBezTo>
                    <a:cubicBezTo>
                      <a:pt x="1749301" y="129847"/>
                      <a:pt x="1606352" y="140685"/>
                      <a:pt x="1420804" y="146768"/>
                    </a:cubicBezTo>
                    <a:cubicBezTo>
                      <a:pt x="1235256" y="152851"/>
                      <a:pt x="1110526" y="169509"/>
                      <a:pt x="963893" y="146768"/>
                    </a:cubicBezTo>
                    <a:cubicBezTo>
                      <a:pt x="817260" y="124027"/>
                      <a:pt x="198706" y="113897"/>
                      <a:pt x="0" y="146768"/>
                    </a:cubicBezTo>
                    <a:cubicBezTo>
                      <a:pt x="-5920" y="97231"/>
                      <a:pt x="-6953" y="33004"/>
                      <a:pt x="0" y="0"/>
                    </a:cubicBezTo>
                    <a:close/>
                  </a:path>
                  <a:path w="5633142" h="146768" stroke="0" extrusionOk="0">
                    <a:moveTo>
                      <a:pt x="0" y="0"/>
                    </a:moveTo>
                    <a:cubicBezTo>
                      <a:pt x="148644" y="1371"/>
                      <a:pt x="293563" y="-9672"/>
                      <a:pt x="569573" y="0"/>
                    </a:cubicBezTo>
                    <a:cubicBezTo>
                      <a:pt x="845583" y="9672"/>
                      <a:pt x="839592" y="-3139"/>
                      <a:pt x="1026484" y="0"/>
                    </a:cubicBezTo>
                    <a:cubicBezTo>
                      <a:pt x="1213376" y="3139"/>
                      <a:pt x="1498009" y="26420"/>
                      <a:pt x="1765051" y="0"/>
                    </a:cubicBezTo>
                    <a:cubicBezTo>
                      <a:pt x="2032093" y="-26420"/>
                      <a:pt x="2058733" y="10319"/>
                      <a:pt x="2334624" y="0"/>
                    </a:cubicBezTo>
                    <a:cubicBezTo>
                      <a:pt x="2610515" y="-10319"/>
                      <a:pt x="2687815" y="17650"/>
                      <a:pt x="2904198" y="0"/>
                    </a:cubicBezTo>
                    <a:cubicBezTo>
                      <a:pt x="3120581" y="-17650"/>
                      <a:pt x="3398193" y="-13612"/>
                      <a:pt x="3642765" y="0"/>
                    </a:cubicBezTo>
                    <a:cubicBezTo>
                      <a:pt x="3887337" y="13612"/>
                      <a:pt x="3980221" y="7506"/>
                      <a:pt x="4156007" y="0"/>
                    </a:cubicBezTo>
                    <a:cubicBezTo>
                      <a:pt x="4331793" y="-7506"/>
                      <a:pt x="4563348" y="17526"/>
                      <a:pt x="4894574" y="0"/>
                    </a:cubicBezTo>
                    <a:cubicBezTo>
                      <a:pt x="5225800" y="-17526"/>
                      <a:pt x="5340001" y="-465"/>
                      <a:pt x="5633142" y="0"/>
                    </a:cubicBezTo>
                    <a:cubicBezTo>
                      <a:pt x="5627709" y="34083"/>
                      <a:pt x="5639293" y="114997"/>
                      <a:pt x="5633142" y="146768"/>
                    </a:cubicBezTo>
                    <a:cubicBezTo>
                      <a:pt x="5496951" y="163980"/>
                      <a:pt x="5144508" y="142130"/>
                      <a:pt x="5007237" y="146768"/>
                    </a:cubicBezTo>
                    <a:cubicBezTo>
                      <a:pt x="4869966" y="151406"/>
                      <a:pt x="4602510" y="118710"/>
                      <a:pt x="4437664" y="146768"/>
                    </a:cubicBezTo>
                    <a:cubicBezTo>
                      <a:pt x="4272818" y="174826"/>
                      <a:pt x="3853725" y="149912"/>
                      <a:pt x="3699097" y="146768"/>
                    </a:cubicBezTo>
                    <a:cubicBezTo>
                      <a:pt x="3544469" y="143624"/>
                      <a:pt x="3314703" y="175455"/>
                      <a:pt x="2960529" y="146768"/>
                    </a:cubicBezTo>
                    <a:cubicBezTo>
                      <a:pt x="2606355" y="118081"/>
                      <a:pt x="2619012" y="164377"/>
                      <a:pt x="2447287" y="146768"/>
                    </a:cubicBezTo>
                    <a:cubicBezTo>
                      <a:pt x="2275562" y="129159"/>
                      <a:pt x="2067453" y="123852"/>
                      <a:pt x="1821383" y="146768"/>
                    </a:cubicBezTo>
                    <a:cubicBezTo>
                      <a:pt x="1575313" y="169684"/>
                      <a:pt x="1337110" y="135445"/>
                      <a:pt x="1082815" y="146768"/>
                    </a:cubicBezTo>
                    <a:cubicBezTo>
                      <a:pt x="828520" y="158091"/>
                      <a:pt x="511108" y="179422"/>
                      <a:pt x="0" y="146768"/>
                    </a:cubicBezTo>
                    <a:cubicBezTo>
                      <a:pt x="-5267" y="109840"/>
                      <a:pt x="-6821" y="65565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1" name="Address Bar Background">
                <a:extLst>
                  <a:ext uri="{FF2B5EF4-FFF2-40B4-BE49-F238E27FC236}">
                    <a16:creationId xmlns:a16="http://schemas.microsoft.com/office/drawing/2014/main" id="{685B39F9-DBA3-4302-80A8-FC56EFE248E6}"/>
                  </a:ext>
                </a:extLst>
              </p:cNvPr>
              <p:cNvSpPr/>
              <p:nvPr/>
            </p:nvSpPr>
            <p:spPr>
              <a:xfrm>
                <a:off x="5514057" y="2383243"/>
                <a:ext cx="4598543" cy="84902"/>
              </a:xfrm>
              <a:custGeom>
                <a:avLst/>
                <a:gdLst>
                  <a:gd name="connsiteX0" fmla="*/ 0 w 4598543"/>
                  <a:gd name="connsiteY0" fmla="*/ 0 h 84902"/>
                  <a:gd name="connsiteX1" fmla="*/ 610949 w 4598543"/>
                  <a:gd name="connsiteY1" fmla="*/ 0 h 84902"/>
                  <a:gd name="connsiteX2" fmla="*/ 1129928 w 4598543"/>
                  <a:gd name="connsiteY2" fmla="*/ 0 h 84902"/>
                  <a:gd name="connsiteX3" fmla="*/ 1694892 w 4598543"/>
                  <a:gd name="connsiteY3" fmla="*/ 0 h 84902"/>
                  <a:gd name="connsiteX4" fmla="*/ 2397812 w 4598543"/>
                  <a:gd name="connsiteY4" fmla="*/ 0 h 84902"/>
                  <a:gd name="connsiteX5" fmla="*/ 3008761 w 4598543"/>
                  <a:gd name="connsiteY5" fmla="*/ 0 h 84902"/>
                  <a:gd name="connsiteX6" fmla="*/ 3573725 w 4598543"/>
                  <a:gd name="connsiteY6" fmla="*/ 0 h 84902"/>
                  <a:gd name="connsiteX7" fmla="*/ 4598543 w 4598543"/>
                  <a:gd name="connsiteY7" fmla="*/ 0 h 84902"/>
                  <a:gd name="connsiteX8" fmla="*/ 4598543 w 4598543"/>
                  <a:gd name="connsiteY8" fmla="*/ 84902 h 84902"/>
                  <a:gd name="connsiteX9" fmla="*/ 3941608 w 4598543"/>
                  <a:gd name="connsiteY9" fmla="*/ 84902 h 84902"/>
                  <a:gd name="connsiteX10" fmla="*/ 3376644 w 4598543"/>
                  <a:gd name="connsiteY10" fmla="*/ 84902 h 84902"/>
                  <a:gd name="connsiteX11" fmla="*/ 2627739 w 4598543"/>
                  <a:gd name="connsiteY11" fmla="*/ 84902 h 84902"/>
                  <a:gd name="connsiteX12" fmla="*/ 2016790 w 4598543"/>
                  <a:gd name="connsiteY12" fmla="*/ 84902 h 84902"/>
                  <a:gd name="connsiteX13" fmla="*/ 1497811 w 4598543"/>
                  <a:gd name="connsiteY13" fmla="*/ 84902 h 84902"/>
                  <a:gd name="connsiteX14" fmla="*/ 794891 w 4598543"/>
                  <a:gd name="connsiteY14" fmla="*/ 84902 h 84902"/>
                  <a:gd name="connsiteX15" fmla="*/ 0 w 4598543"/>
                  <a:gd name="connsiteY15" fmla="*/ 84902 h 84902"/>
                  <a:gd name="connsiteX16" fmla="*/ 0 w 4598543"/>
                  <a:gd name="connsiteY16" fmla="*/ 0 h 8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98543" h="84902" fill="none" extrusionOk="0">
                    <a:moveTo>
                      <a:pt x="0" y="0"/>
                    </a:moveTo>
                    <a:cubicBezTo>
                      <a:pt x="229289" y="29538"/>
                      <a:pt x="371415" y="15539"/>
                      <a:pt x="610949" y="0"/>
                    </a:cubicBezTo>
                    <a:cubicBezTo>
                      <a:pt x="850483" y="-15539"/>
                      <a:pt x="931980" y="12751"/>
                      <a:pt x="1129928" y="0"/>
                    </a:cubicBezTo>
                    <a:cubicBezTo>
                      <a:pt x="1327876" y="-12751"/>
                      <a:pt x="1567951" y="12195"/>
                      <a:pt x="1694892" y="0"/>
                    </a:cubicBezTo>
                    <a:cubicBezTo>
                      <a:pt x="1821833" y="-12195"/>
                      <a:pt x="2234916" y="14365"/>
                      <a:pt x="2397812" y="0"/>
                    </a:cubicBezTo>
                    <a:cubicBezTo>
                      <a:pt x="2560708" y="-14365"/>
                      <a:pt x="2872586" y="-26857"/>
                      <a:pt x="3008761" y="0"/>
                    </a:cubicBezTo>
                    <a:cubicBezTo>
                      <a:pt x="3144936" y="26857"/>
                      <a:pt x="3390778" y="15504"/>
                      <a:pt x="3573725" y="0"/>
                    </a:cubicBezTo>
                    <a:cubicBezTo>
                      <a:pt x="3756672" y="-15504"/>
                      <a:pt x="4328979" y="-45536"/>
                      <a:pt x="4598543" y="0"/>
                    </a:cubicBezTo>
                    <a:cubicBezTo>
                      <a:pt x="4597981" y="27104"/>
                      <a:pt x="4597947" y="55244"/>
                      <a:pt x="4598543" y="84902"/>
                    </a:cubicBezTo>
                    <a:cubicBezTo>
                      <a:pt x="4440768" y="109646"/>
                      <a:pt x="4152441" y="77600"/>
                      <a:pt x="3941608" y="84902"/>
                    </a:cubicBezTo>
                    <a:cubicBezTo>
                      <a:pt x="3730775" y="92204"/>
                      <a:pt x="3500145" y="98289"/>
                      <a:pt x="3376644" y="84902"/>
                    </a:cubicBezTo>
                    <a:cubicBezTo>
                      <a:pt x="3253143" y="71515"/>
                      <a:pt x="2907306" y="69637"/>
                      <a:pt x="2627739" y="84902"/>
                    </a:cubicBezTo>
                    <a:cubicBezTo>
                      <a:pt x="2348172" y="100167"/>
                      <a:pt x="2240997" y="67000"/>
                      <a:pt x="2016790" y="84902"/>
                    </a:cubicBezTo>
                    <a:cubicBezTo>
                      <a:pt x="1792583" y="102804"/>
                      <a:pt x="1627031" y="103306"/>
                      <a:pt x="1497811" y="84902"/>
                    </a:cubicBezTo>
                    <a:cubicBezTo>
                      <a:pt x="1368591" y="66498"/>
                      <a:pt x="1061985" y="63908"/>
                      <a:pt x="794891" y="84902"/>
                    </a:cubicBezTo>
                    <a:cubicBezTo>
                      <a:pt x="527797" y="105896"/>
                      <a:pt x="174920" y="75817"/>
                      <a:pt x="0" y="84902"/>
                    </a:cubicBezTo>
                    <a:cubicBezTo>
                      <a:pt x="337" y="52542"/>
                      <a:pt x="582" y="27801"/>
                      <a:pt x="0" y="0"/>
                    </a:cubicBezTo>
                    <a:close/>
                  </a:path>
                  <a:path w="4598543" h="84902" stroke="0" extrusionOk="0">
                    <a:moveTo>
                      <a:pt x="0" y="0"/>
                    </a:moveTo>
                    <a:cubicBezTo>
                      <a:pt x="245075" y="-24510"/>
                      <a:pt x="422041" y="-10520"/>
                      <a:pt x="610949" y="0"/>
                    </a:cubicBezTo>
                    <a:cubicBezTo>
                      <a:pt x="799857" y="10520"/>
                      <a:pt x="962339" y="16190"/>
                      <a:pt x="1129928" y="0"/>
                    </a:cubicBezTo>
                    <a:cubicBezTo>
                      <a:pt x="1297517" y="-16190"/>
                      <a:pt x="1526038" y="-13170"/>
                      <a:pt x="1878833" y="0"/>
                    </a:cubicBezTo>
                    <a:cubicBezTo>
                      <a:pt x="2231628" y="13170"/>
                      <a:pt x="2188071" y="28736"/>
                      <a:pt x="2489783" y="0"/>
                    </a:cubicBezTo>
                    <a:cubicBezTo>
                      <a:pt x="2791495" y="-28736"/>
                      <a:pt x="2904857" y="11873"/>
                      <a:pt x="3100732" y="0"/>
                    </a:cubicBezTo>
                    <a:cubicBezTo>
                      <a:pt x="3296607" y="-11873"/>
                      <a:pt x="3541313" y="-26790"/>
                      <a:pt x="3849637" y="0"/>
                    </a:cubicBezTo>
                    <a:cubicBezTo>
                      <a:pt x="4157962" y="26790"/>
                      <a:pt x="4355737" y="-2018"/>
                      <a:pt x="4598543" y="0"/>
                    </a:cubicBezTo>
                    <a:cubicBezTo>
                      <a:pt x="4596535" y="40259"/>
                      <a:pt x="4596753" y="47653"/>
                      <a:pt x="4598543" y="84902"/>
                    </a:cubicBezTo>
                    <a:cubicBezTo>
                      <a:pt x="4334393" y="77125"/>
                      <a:pt x="4238877" y="85386"/>
                      <a:pt x="4033579" y="84902"/>
                    </a:cubicBezTo>
                    <a:cubicBezTo>
                      <a:pt x="3828281" y="84418"/>
                      <a:pt x="3580556" y="97925"/>
                      <a:pt x="3376644" y="84902"/>
                    </a:cubicBezTo>
                    <a:cubicBezTo>
                      <a:pt x="3172732" y="71879"/>
                      <a:pt x="3019455" y="55316"/>
                      <a:pt x="2719710" y="84902"/>
                    </a:cubicBezTo>
                    <a:cubicBezTo>
                      <a:pt x="2419965" y="114488"/>
                      <a:pt x="2297015" y="106137"/>
                      <a:pt x="2108760" y="84902"/>
                    </a:cubicBezTo>
                    <a:cubicBezTo>
                      <a:pt x="1920505" y="63668"/>
                      <a:pt x="1577513" y="68128"/>
                      <a:pt x="1359855" y="84902"/>
                    </a:cubicBezTo>
                    <a:cubicBezTo>
                      <a:pt x="1142198" y="101676"/>
                      <a:pt x="944349" y="66361"/>
                      <a:pt x="610949" y="84902"/>
                    </a:cubicBezTo>
                    <a:cubicBezTo>
                      <a:pt x="277549" y="103443"/>
                      <a:pt x="291731" y="96904"/>
                      <a:pt x="0" y="84902"/>
                    </a:cubicBezTo>
                    <a:cubicBezTo>
                      <a:pt x="1504" y="64811"/>
                      <a:pt x="2191" y="23288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22" name="Right Arrow">
                <a:extLst>
                  <a:ext uri="{FF2B5EF4-FFF2-40B4-BE49-F238E27FC236}">
                    <a16:creationId xmlns:a16="http://schemas.microsoft.com/office/drawing/2014/main" id="{2F7E7030-AE23-4C71-9D40-8C71448C5571}"/>
                  </a:ext>
                </a:extLst>
              </p:cNvPr>
              <p:cNvGrpSpPr/>
              <p:nvPr/>
            </p:nvGrpSpPr>
            <p:grpSpPr>
              <a:xfrm>
                <a:off x="5128197" y="2407577"/>
                <a:ext cx="55821" cy="39982"/>
                <a:chOff x="5128197" y="2407577"/>
                <a:chExt cx="55821" cy="39982"/>
              </a:xfrm>
            </p:grpSpPr>
            <p:grpSp>
              <p:nvGrpSpPr>
                <p:cNvPr id="549" name="Right Arrow">
                  <a:extLst>
                    <a:ext uri="{FF2B5EF4-FFF2-40B4-BE49-F238E27FC236}">
                      <a16:creationId xmlns:a16="http://schemas.microsoft.com/office/drawing/2014/main" id="{4D35FA65-08E4-45FF-94BF-C0C56E3834B4}"/>
                    </a:ext>
                  </a:extLst>
                </p:cNvPr>
                <p:cNvGrpSpPr/>
                <p:nvPr/>
              </p:nvGrpSpPr>
              <p:grpSpPr>
                <a:xfrm rot="13370064">
                  <a:off x="5144036" y="2407577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51" name="Line 2">
                    <a:extLst>
                      <a:ext uri="{FF2B5EF4-FFF2-40B4-BE49-F238E27FC236}">
                        <a16:creationId xmlns:a16="http://schemas.microsoft.com/office/drawing/2014/main" id="{B5814EB0-87FC-4756-AF48-63BC64B5A1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2" name="Line 1">
                    <a:extLst>
                      <a:ext uri="{FF2B5EF4-FFF2-40B4-BE49-F238E27FC236}">
                        <a16:creationId xmlns:a16="http://schemas.microsoft.com/office/drawing/2014/main" id="{4D5BF2D1-807C-4A5B-BC2D-13570B0EDD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50" name="Right Arrow">
                  <a:extLst>
                    <a:ext uri="{FF2B5EF4-FFF2-40B4-BE49-F238E27FC236}">
                      <a16:creationId xmlns:a16="http://schemas.microsoft.com/office/drawing/2014/main" id="{FF254B69-F7DD-44F0-A30E-CBC5D9CAE5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28197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3" name="Left Arrow">
                <a:extLst>
                  <a:ext uri="{FF2B5EF4-FFF2-40B4-BE49-F238E27FC236}">
                    <a16:creationId xmlns:a16="http://schemas.microsoft.com/office/drawing/2014/main" id="{B0BE31A3-3EBB-4564-A28D-07C34782648F}"/>
                  </a:ext>
                </a:extLst>
              </p:cNvPr>
              <p:cNvGrpSpPr/>
              <p:nvPr/>
            </p:nvGrpSpPr>
            <p:grpSpPr>
              <a:xfrm>
                <a:off x="5004669" y="2407458"/>
                <a:ext cx="56118" cy="39982"/>
                <a:chOff x="5004669" y="2407458"/>
                <a:chExt cx="56118" cy="39982"/>
              </a:xfrm>
            </p:grpSpPr>
            <p:grpSp>
              <p:nvGrpSpPr>
                <p:cNvPr id="545" name="Left Arrow">
                  <a:extLst>
                    <a:ext uri="{FF2B5EF4-FFF2-40B4-BE49-F238E27FC236}">
                      <a16:creationId xmlns:a16="http://schemas.microsoft.com/office/drawing/2014/main" id="{35C6CA7C-337E-4C13-A902-50183FE3105E}"/>
                    </a:ext>
                  </a:extLst>
                </p:cNvPr>
                <p:cNvGrpSpPr/>
                <p:nvPr/>
              </p:nvGrpSpPr>
              <p:grpSpPr>
                <a:xfrm rot="8229936" flipH="1">
                  <a:off x="5004669" y="2407458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47" name="Line 2">
                    <a:extLst>
                      <a:ext uri="{FF2B5EF4-FFF2-40B4-BE49-F238E27FC236}">
                        <a16:creationId xmlns:a16="http://schemas.microsoft.com/office/drawing/2014/main" id="{7872BCB5-50C6-4D17-B3E5-7C261012102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8" name="Line 1">
                    <a:extLst>
                      <a:ext uri="{FF2B5EF4-FFF2-40B4-BE49-F238E27FC236}">
                        <a16:creationId xmlns:a16="http://schemas.microsoft.com/office/drawing/2014/main" id="{B2E27EF4-CBCF-41A5-82B8-16D09FE3764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46" name="Left Arrow">
                  <a:extLst>
                    <a:ext uri="{FF2B5EF4-FFF2-40B4-BE49-F238E27FC236}">
                      <a16:creationId xmlns:a16="http://schemas.microsoft.com/office/drawing/2014/main" id="{9FD14A27-CF2D-40DD-9248-09C9BAD52F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2808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24" name="Search Address Bar Icon" descr="Magnifying glass">
                <a:extLst>
                  <a:ext uri="{FF2B5EF4-FFF2-40B4-BE49-F238E27FC236}">
                    <a16:creationId xmlns:a16="http://schemas.microsoft.com/office/drawing/2014/main" id="{4C28C5D4-573A-4815-946D-BFF46133E4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H="1">
                <a:off x="5539664" y="2402166"/>
                <a:ext cx="48632" cy="48632"/>
              </a:xfrm>
              <a:prstGeom prst="rect">
                <a:avLst/>
              </a:prstGeom>
            </p:spPr>
          </p:pic>
          <p:sp>
            <p:nvSpPr>
              <p:cNvPr id="525" name="Search Address Bar Text">
                <a:extLst>
                  <a:ext uri="{FF2B5EF4-FFF2-40B4-BE49-F238E27FC236}">
                    <a16:creationId xmlns:a16="http://schemas.microsoft.com/office/drawing/2014/main" id="{F4A46A15-079C-4B4A-A2A7-4B46B7DD69EC}"/>
                  </a:ext>
                </a:extLst>
              </p:cNvPr>
              <p:cNvSpPr txBox="1"/>
              <p:nvPr/>
            </p:nvSpPr>
            <p:spPr>
              <a:xfrm>
                <a:off x="5529550" y="2361221"/>
                <a:ext cx="1335040" cy="149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70" dirty="0">
                    <a:solidFill>
                      <a:srgbClr val="AEAEAE"/>
                    </a:solidFill>
                  </a:rPr>
                  <a:t>Search or enter web address</a:t>
                </a:r>
              </a:p>
            </p:txBody>
          </p:sp>
          <p:pic>
            <p:nvPicPr>
              <p:cNvPr id="526" name="Refresh Button" descr="Refresh">
                <a:extLst>
                  <a:ext uri="{FF2B5EF4-FFF2-40B4-BE49-F238E27FC236}">
                    <a16:creationId xmlns:a16="http://schemas.microsoft.com/office/drawing/2014/main" id="{09D65992-45BC-4343-9F7B-4797F33FF8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7611513">
                <a:off x="5247646" y="2397778"/>
                <a:ext cx="59306" cy="59306"/>
              </a:xfrm>
              <a:prstGeom prst="rect">
                <a:avLst/>
              </a:prstGeom>
            </p:spPr>
          </p:pic>
          <p:pic>
            <p:nvPicPr>
              <p:cNvPr id="527" name="Home Button" descr="Home">
                <a:extLst>
                  <a:ext uri="{FF2B5EF4-FFF2-40B4-BE49-F238E27FC236}">
                    <a16:creationId xmlns:a16="http://schemas.microsoft.com/office/drawing/2014/main" id="{3D38578F-3F8D-4CB7-91EC-80501AE330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371550" y="2399299"/>
                <a:ext cx="59306" cy="59306"/>
              </a:xfrm>
              <a:prstGeom prst="rect">
                <a:avLst/>
              </a:prstGeom>
            </p:spPr>
          </p:pic>
          <p:grpSp>
            <p:nvGrpSpPr>
              <p:cNvPr id="528" name="Address Bar Settings Button">
                <a:extLst>
                  <a:ext uri="{FF2B5EF4-FFF2-40B4-BE49-F238E27FC236}">
                    <a16:creationId xmlns:a16="http://schemas.microsoft.com/office/drawing/2014/main" id="{DB281471-0E34-49CB-956F-F16D446D26A9}"/>
                  </a:ext>
                </a:extLst>
              </p:cNvPr>
              <p:cNvGrpSpPr/>
              <p:nvPr/>
            </p:nvGrpSpPr>
            <p:grpSpPr>
              <a:xfrm>
                <a:off x="10462849" y="2419434"/>
                <a:ext cx="64797" cy="15993"/>
                <a:chOff x="10790691" y="1400190"/>
                <a:chExt cx="74096" cy="18288"/>
              </a:xfrm>
            </p:grpSpPr>
            <p:sp>
              <p:nvSpPr>
                <p:cNvPr id="542" name="Circle">
                  <a:extLst>
                    <a:ext uri="{FF2B5EF4-FFF2-40B4-BE49-F238E27FC236}">
                      <a16:creationId xmlns:a16="http://schemas.microsoft.com/office/drawing/2014/main" id="{E665D752-7AB7-4FF6-B09C-1207C4312256}"/>
                    </a:ext>
                  </a:extLst>
                </p:cNvPr>
                <p:cNvSpPr/>
                <p:nvPr/>
              </p:nvSpPr>
              <p:spPr>
                <a:xfrm>
                  <a:off x="10846499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3" name="Circle">
                  <a:extLst>
                    <a:ext uri="{FF2B5EF4-FFF2-40B4-BE49-F238E27FC236}">
                      <a16:creationId xmlns:a16="http://schemas.microsoft.com/office/drawing/2014/main" id="{66F8E6F1-ACFA-40B0-BE17-B1C173E45A8C}"/>
                    </a:ext>
                  </a:extLst>
                </p:cNvPr>
                <p:cNvSpPr/>
                <p:nvPr/>
              </p:nvSpPr>
              <p:spPr>
                <a:xfrm>
                  <a:off x="10818595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4" name="Circle">
                  <a:extLst>
                    <a:ext uri="{FF2B5EF4-FFF2-40B4-BE49-F238E27FC236}">
                      <a16:creationId xmlns:a16="http://schemas.microsoft.com/office/drawing/2014/main" id="{9D4C3D15-84DA-4A39-AB09-681268FF014C}"/>
                    </a:ext>
                  </a:extLst>
                </p:cNvPr>
                <p:cNvSpPr/>
                <p:nvPr/>
              </p:nvSpPr>
              <p:spPr>
                <a:xfrm>
                  <a:off x="10790691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29" name="Add Button">
                <a:extLst>
                  <a:ext uri="{FF2B5EF4-FFF2-40B4-BE49-F238E27FC236}">
                    <a16:creationId xmlns:a16="http://schemas.microsoft.com/office/drawing/2014/main" id="{1CF79268-3321-4B74-BCE1-D4A4AAD16FD8}"/>
                  </a:ext>
                </a:extLst>
              </p:cNvPr>
              <p:cNvGrpSpPr/>
              <p:nvPr/>
            </p:nvGrpSpPr>
            <p:grpSpPr>
              <a:xfrm>
                <a:off x="5822685" y="2296671"/>
                <a:ext cx="39983" cy="39983"/>
                <a:chOff x="5822685" y="2296671"/>
                <a:chExt cx="39983" cy="39983"/>
              </a:xfrm>
            </p:grpSpPr>
            <p:cxnSp>
              <p:nvCxnSpPr>
                <p:cNvPr id="540" name="Line 2">
                  <a:extLst>
                    <a:ext uri="{FF2B5EF4-FFF2-40B4-BE49-F238E27FC236}">
                      <a16:creationId xmlns:a16="http://schemas.microsoft.com/office/drawing/2014/main" id="{54CFD6A6-0869-494F-B18E-802C12FE99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22685" y="2315861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1" name="Line 1">
                  <a:extLst>
                    <a:ext uri="{FF2B5EF4-FFF2-40B4-BE49-F238E27FC236}">
                      <a16:creationId xmlns:a16="http://schemas.microsoft.com/office/drawing/2014/main" id="{8380DE50-4991-4F02-B8C0-D20EA5332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5821643" y="2316663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30" name="Close Button" descr="Close">
                <a:extLst>
                  <a:ext uri="{FF2B5EF4-FFF2-40B4-BE49-F238E27FC236}">
                    <a16:creationId xmlns:a16="http://schemas.microsoft.com/office/drawing/2014/main" id="{8CFE01B9-D061-4B76-829A-F01DB3F256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10465079" y="229656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1" name="Maximize Button">
                <a:extLst>
                  <a:ext uri="{FF2B5EF4-FFF2-40B4-BE49-F238E27FC236}">
                    <a16:creationId xmlns:a16="http://schemas.microsoft.com/office/drawing/2014/main" id="{1523D9FA-3565-4670-B7CA-B24512A67F8F}"/>
                  </a:ext>
                </a:extLst>
              </p:cNvPr>
              <p:cNvSpPr/>
              <p:nvPr/>
            </p:nvSpPr>
            <p:spPr>
              <a:xfrm>
                <a:off x="10328833" y="2301847"/>
                <a:ext cx="31986" cy="31986"/>
              </a:xfrm>
              <a:prstGeom prst="rect">
                <a:avLst/>
              </a:prstGeom>
              <a:noFill/>
              <a:ln w="6350">
                <a:solidFill>
                  <a:srgbClr val="09090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32" name="Minimize Button">
                <a:extLst>
                  <a:ext uri="{FF2B5EF4-FFF2-40B4-BE49-F238E27FC236}">
                    <a16:creationId xmlns:a16="http://schemas.microsoft.com/office/drawing/2014/main" id="{A709F5FE-9E36-44B6-9DF5-E402CB1D79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0145" y="2316798"/>
                <a:ext cx="31986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3" name="Webpage Small Title Background">
                <a:extLst>
                  <a:ext uri="{FF2B5EF4-FFF2-40B4-BE49-F238E27FC236}">
                    <a16:creationId xmlns:a16="http://schemas.microsoft.com/office/drawing/2014/main" id="{8B8FC058-1C60-4C02-A8F2-586AA1954CC0}"/>
                  </a:ext>
                </a:extLst>
              </p:cNvPr>
              <p:cNvSpPr/>
              <p:nvPr/>
            </p:nvSpPr>
            <p:spPr>
              <a:xfrm>
                <a:off x="5167332" y="2270515"/>
                <a:ext cx="622646" cy="104134"/>
              </a:xfrm>
              <a:custGeom>
                <a:avLst/>
                <a:gdLst>
                  <a:gd name="connsiteX0" fmla="*/ 0 w 622646"/>
                  <a:gd name="connsiteY0" fmla="*/ 0 h 104134"/>
                  <a:gd name="connsiteX1" fmla="*/ 622646 w 622646"/>
                  <a:gd name="connsiteY1" fmla="*/ 0 h 104134"/>
                  <a:gd name="connsiteX2" fmla="*/ 622646 w 622646"/>
                  <a:gd name="connsiteY2" fmla="*/ 104134 h 104134"/>
                  <a:gd name="connsiteX3" fmla="*/ 0 w 622646"/>
                  <a:gd name="connsiteY3" fmla="*/ 104134 h 104134"/>
                  <a:gd name="connsiteX4" fmla="*/ 0 w 622646"/>
                  <a:gd name="connsiteY4" fmla="*/ 0 h 10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646" h="104134" fill="none" extrusionOk="0">
                    <a:moveTo>
                      <a:pt x="0" y="0"/>
                    </a:moveTo>
                    <a:cubicBezTo>
                      <a:pt x="303527" y="-11224"/>
                      <a:pt x="347830" y="-2420"/>
                      <a:pt x="622646" y="0"/>
                    </a:cubicBezTo>
                    <a:cubicBezTo>
                      <a:pt x="617543" y="49713"/>
                      <a:pt x="627647" y="70936"/>
                      <a:pt x="622646" y="104134"/>
                    </a:cubicBezTo>
                    <a:cubicBezTo>
                      <a:pt x="427445" y="95508"/>
                      <a:pt x="185225" y="129744"/>
                      <a:pt x="0" y="104134"/>
                    </a:cubicBezTo>
                    <a:cubicBezTo>
                      <a:pt x="-1595" y="70651"/>
                      <a:pt x="3854" y="34322"/>
                      <a:pt x="0" y="0"/>
                    </a:cubicBezTo>
                    <a:close/>
                  </a:path>
                  <a:path w="622646" h="104134" stroke="0" extrusionOk="0">
                    <a:moveTo>
                      <a:pt x="0" y="0"/>
                    </a:moveTo>
                    <a:cubicBezTo>
                      <a:pt x="270705" y="-8460"/>
                      <a:pt x="453983" y="-12708"/>
                      <a:pt x="622646" y="0"/>
                    </a:cubicBezTo>
                    <a:cubicBezTo>
                      <a:pt x="619928" y="35983"/>
                      <a:pt x="619772" y="62275"/>
                      <a:pt x="622646" y="104134"/>
                    </a:cubicBezTo>
                    <a:cubicBezTo>
                      <a:pt x="357335" y="87148"/>
                      <a:pt x="268814" y="119323"/>
                      <a:pt x="0" y="104134"/>
                    </a:cubicBezTo>
                    <a:cubicBezTo>
                      <a:pt x="933" y="57310"/>
                      <a:pt x="-398" y="29390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34" name="Webpage Close Icon" descr="Close">
                <a:extLst>
                  <a:ext uri="{FF2B5EF4-FFF2-40B4-BE49-F238E27FC236}">
                    <a16:creationId xmlns:a16="http://schemas.microsoft.com/office/drawing/2014/main" id="{54440EC5-88CB-481D-BBE4-52BCFD6B1E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717383" y="229698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5" name="Webpage Name">
                <a:extLst>
                  <a:ext uri="{FF2B5EF4-FFF2-40B4-BE49-F238E27FC236}">
                    <a16:creationId xmlns:a16="http://schemas.microsoft.com/office/drawing/2014/main" id="{78A40229-4D45-4960-9218-446DE8A37743}"/>
                  </a:ext>
                </a:extLst>
              </p:cNvPr>
              <p:cNvSpPr txBox="1"/>
              <p:nvPr/>
            </p:nvSpPr>
            <p:spPr>
              <a:xfrm>
                <a:off x="5272180" y="2289186"/>
                <a:ext cx="138919" cy="53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400" dirty="0">
                    <a:solidFill>
                      <a:srgbClr val="555555"/>
                    </a:solidFill>
                  </a:rPr>
                  <a:t>Start</a:t>
                </a:r>
              </a:p>
            </p:txBody>
          </p:sp>
          <p:grpSp>
            <p:nvGrpSpPr>
              <p:cNvPr id="536" name="Website Icon Placeholder">
                <a:extLst>
                  <a:ext uri="{FF2B5EF4-FFF2-40B4-BE49-F238E27FC236}">
                    <a16:creationId xmlns:a16="http://schemas.microsoft.com/office/drawing/2014/main" id="{F12C93E2-424A-4D9A-9C11-A3F49BB5936C}"/>
                  </a:ext>
                </a:extLst>
              </p:cNvPr>
              <p:cNvGrpSpPr/>
              <p:nvPr/>
            </p:nvGrpSpPr>
            <p:grpSpPr>
              <a:xfrm>
                <a:off x="5204508" y="2295596"/>
                <a:ext cx="41452" cy="40711"/>
                <a:chOff x="1950533" y="1912092"/>
                <a:chExt cx="144420" cy="141838"/>
              </a:xfrm>
            </p:grpSpPr>
            <p:sp>
              <p:nvSpPr>
                <p:cNvPr id="537" name="Square">
                  <a:extLst>
                    <a:ext uri="{FF2B5EF4-FFF2-40B4-BE49-F238E27FC236}">
                      <a16:creationId xmlns:a16="http://schemas.microsoft.com/office/drawing/2014/main" id="{E6DBB03C-63A7-4CFC-8B29-388FF596A28C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3175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538" name="Line 2">
                  <a:extLst>
                    <a:ext uri="{FF2B5EF4-FFF2-40B4-BE49-F238E27FC236}">
                      <a16:creationId xmlns:a16="http://schemas.microsoft.com/office/drawing/2014/main" id="{5E74EB29-1C16-4733-81E3-224E14FE7904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9" name="Line 1">
                  <a:extLst>
                    <a:ext uri="{FF2B5EF4-FFF2-40B4-BE49-F238E27FC236}">
                      <a16:creationId xmlns:a16="http://schemas.microsoft.com/office/drawing/2014/main" id="{6C9D239C-AE67-4A5B-9A3A-082D19552BF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" name="Tablet Outline">
              <a:extLst>
                <a:ext uri="{FF2B5EF4-FFF2-40B4-BE49-F238E27FC236}">
                  <a16:creationId xmlns:a16="http://schemas.microsoft.com/office/drawing/2014/main" id="{ACE4A6A2-5007-495E-8EF4-5B0E4876DEC8}"/>
                </a:ext>
              </a:extLst>
            </p:cNvPr>
            <p:cNvGrpSpPr/>
            <p:nvPr/>
          </p:nvGrpSpPr>
          <p:grpSpPr>
            <a:xfrm rot="16200000">
              <a:off x="3510205" y="-874665"/>
              <a:ext cx="6068060" cy="8606117"/>
              <a:chOff x="4740346" y="2465294"/>
              <a:chExt cx="1802369" cy="2556237"/>
            </a:xfrm>
          </p:grpSpPr>
          <p:sp>
            <p:nvSpPr>
              <p:cNvPr id="559" name="Tablet Outline and Screen">
                <a:extLst>
                  <a:ext uri="{FF2B5EF4-FFF2-40B4-BE49-F238E27FC236}">
                    <a16:creationId xmlns:a16="http://schemas.microsoft.com/office/drawing/2014/main" id="{B19BED11-7706-491F-9F26-4D73A09B09AB}"/>
                  </a:ext>
                </a:extLst>
              </p:cNvPr>
              <p:cNvSpPr/>
              <p:nvPr/>
            </p:nvSpPr>
            <p:spPr>
              <a:xfrm rot="5400000">
                <a:off x="4363640" y="2842456"/>
                <a:ext cx="2555781" cy="1802369"/>
              </a:xfrm>
              <a:custGeom>
                <a:avLst/>
                <a:gdLst>
                  <a:gd name="connsiteX0" fmla="*/ 98312 w 2555781"/>
                  <a:gd name="connsiteY0" fmla="*/ 1707597 h 1802369"/>
                  <a:gd name="connsiteX1" fmla="*/ 2354723 w 2555781"/>
                  <a:gd name="connsiteY1" fmla="*/ 1707597 h 1802369"/>
                  <a:gd name="connsiteX2" fmla="*/ 2354723 w 2555781"/>
                  <a:gd name="connsiteY2" fmla="*/ 94770 h 1802369"/>
                  <a:gd name="connsiteX3" fmla="*/ 98312 w 2555781"/>
                  <a:gd name="connsiteY3" fmla="*/ 94770 h 1802369"/>
                  <a:gd name="connsiteX4" fmla="*/ 0 w 2555781"/>
                  <a:gd name="connsiteY4" fmla="*/ 1732509 h 1802369"/>
                  <a:gd name="connsiteX5" fmla="*/ 0 w 2555781"/>
                  <a:gd name="connsiteY5" fmla="*/ 69860 h 1802369"/>
                  <a:gd name="connsiteX6" fmla="*/ 69860 w 2555781"/>
                  <a:gd name="connsiteY6" fmla="*/ 0 h 1802369"/>
                  <a:gd name="connsiteX7" fmla="*/ 2485921 w 2555781"/>
                  <a:gd name="connsiteY7" fmla="*/ 0 h 1802369"/>
                  <a:gd name="connsiteX8" fmla="*/ 2555781 w 2555781"/>
                  <a:gd name="connsiteY8" fmla="*/ 69860 h 1802369"/>
                  <a:gd name="connsiteX9" fmla="*/ 2555781 w 2555781"/>
                  <a:gd name="connsiteY9" fmla="*/ 1732509 h 1802369"/>
                  <a:gd name="connsiteX10" fmla="*/ 2485921 w 2555781"/>
                  <a:gd name="connsiteY10" fmla="*/ 1802369 h 1802369"/>
                  <a:gd name="connsiteX11" fmla="*/ 69860 w 2555781"/>
                  <a:gd name="connsiteY11" fmla="*/ 1802369 h 1802369"/>
                  <a:gd name="connsiteX12" fmla="*/ 0 w 2555781"/>
                  <a:gd name="connsiteY12" fmla="*/ 1732509 h 180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5781" h="1802369">
                    <a:moveTo>
                      <a:pt x="98312" y="1707597"/>
                    </a:moveTo>
                    <a:lnTo>
                      <a:pt x="2354723" y="1707597"/>
                    </a:lnTo>
                    <a:lnTo>
                      <a:pt x="2354723" y="94770"/>
                    </a:lnTo>
                    <a:lnTo>
                      <a:pt x="98312" y="94770"/>
                    </a:lnTo>
                    <a:close/>
                    <a:moveTo>
                      <a:pt x="0" y="1732509"/>
                    </a:moveTo>
                    <a:lnTo>
                      <a:pt x="0" y="69860"/>
                    </a:lnTo>
                    <a:cubicBezTo>
                      <a:pt x="0" y="31277"/>
                      <a:pt x="31277" y="0"/>
                      <a:pt x="69860" y="0"/>
                    </a:cubicBezTo>
                    <a:lnTo>
                      <a:pt x="2485921" y="0"/>
                    </a:lnTo>
                    <a:cubicBezTo>
                      <a:pt x="2524504" y="0"/>
                      <a:pt x="2555781" y="31277"/>
                      <a:pt x="2555781" y="69860"/>
                    </a:cubicBezTo>
                    <a:lnTo>
                      <a:pt x="2555781" y="1732509"/>
                    </a:lnTo>
                    <a:cubicBezTo>
                      <a:pt x="2555781" y="1771092"/>
                      <a:pt x="2524504" y="1802369"/>
                      <a:pt x="2485921" y="1802369"/>
                    </a:cubicBezTo>
                    <a:lnTo>
                      <a:pt x="69860" y="1802369"/>
                    </a:lnTo>
                    <a:cubicBezTo>
                      <a:pt x="31277" y="1802369"/>
                      <a:pt x="0" y="1771092"/>
                      <a:pt x="0" y="1732509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0" name="Tablet Home Button">
                <a:extLst>
                  <a:ext uri="{FF2B5EF4-FFF2-40B4-BE49-F238E27FC236}">
                    <a16:creationId xmlns:a16="http://schemas.microsoft.com/office/drawing/2014/main" id="{F4B994A9-357B-4A98-B948-20D42E96D618}"/>
                  </a:ext>
                </a:extLst>
              </p:cNvPr>
              <p:cNvSpPr/>
              <p:nvPr/>
            </p:nvSpPr>
            <p:spPr>
              <a:xfrm rot="5400000">
                <a:off x="5573142" y="4850882"/>
                <a:ext cx="136777" cy="136777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1" name="Tablet Outline">
                <a:extLst>
                  <a:ext uri="{FF2B5EF4-FFF2-40B4-BE49-F238E27FC236}">
                    <a16:creationId xmlns:a16="http://schemas.microsoft.com/office/drawing/2014/main" id="{842DDC13-0BD5-4A26-A042-ADCB01FC6D42}"/>
                  </a:ext>
                </a:extLst>
              </p:cNvPr>
              <p:cNvSpPr/>
              <p:nvPr/>
            </p:nvSpPr>
            <p:spPr>
              <a:xfrm rot="5400000">
                <a:off x="4363640" y="2842000"/>
                <a:ext cx="2555781" cy="1802369"/>
              </a:xfrm>
              <a:prstGeom prst="roundRect">
                <a:avLst>
                  <a:gd name="adj" fmla="val 387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1" name="Mobile Device Outline" descr="A mockup of mobile interface on a phone.">
            <a:extLst>
              <a:ext uri="{FF2B5EF4-FFF2-40B4-BE49-F238E27FC236}">
                <a16:creationId xmlns:a16="http://schemas.microsoft.com/office/drawing/2014/main" id="{22D67D32-396A-4AAB-9566-759C06E1F4FE}"/>
              </a:ext>
            </a:extLst>
          </p:cNvPr>
          <p:cNvGrpSpPr/>
          <p:nvPr/>
        </p:nvGrpSpPr>
        <p:grpSpPr>
          <a:xfrm>
            <a:off x="8698534" y="1357874"/>
            <a:ext cx="2736739" cy="5016282"/>
            <a:chOff x="1357224" y="2005431"/>
            <a:chExt cx="2449955" cy="4490624"/>
          </a:xfrm>
        </p:grpSpPr>
        <p:sp>
          <p:nvSpPr>
            <p:cNvPr id="182" name="Menu Header Background">
              <a:extLst>
                <a:ext uri="{FF2B5EF4-FFF2-40B4-BE49-F238E27FC236}">
                  <a16:creationId xmlns:a16="http://schemas.microsoft.com/office/drawing/2014/main" id="{000DEACF-1A7C-45C9-8430-A637BD693E6A}"/>
                </a:ext>
              </a:extLst>
            </p:cNvPr>
            <p:cNvSpPr/>
            <p:nvPr/>
          </p:nvSpPr>
          <p:spPr>
            <a:xfrm>
              <a:off x="1466781" y="2387397"/>
              <a:ext cx="2232972" cy="402586"/>
            </a:xfrm>
            <a:custGeom>
              <a:avLst/>
              <a:gdLst>
                <a:gd name="connsiteX0" fmla="*/ 0 w 2232972"/>
                <a:gd name="connsiteY0" fmla="*/ 0 h 402586"/>
                <a:gd name="connsiteX1" fmla="*/ 0 w 2232972"/>
                <a:gd name="connsiteY1" fmla="*/ 0 h 402586"/>
                <a:gd name="connsiteX2" fmla="*/ 535913 w 2232972"/>
                <a:gd name="connsiteY2" fmla="*/ 0 h 402586"/>
                <a:gd name="connsiteX3" fmla="*/ 1094156 w 2232972"/>
                <a:gd name="connsiteY3" fmla="*/ 0 h 402586"/>
                <a:gd name="connsiteX4" fmla="*/ 1652399 w 2232972"/>
                <a:gd name="connsiteY4" fmla="*/ 0 h 402586"/>
                <a:gd name="connsiteX5" fmla="*/ 2232972 w 2232972"/>
                <a:gd name="connsiteY5" fmla="*/ 0 h 402586"/>
                <a:gd name="connsiteX6" fmla="*/ 2232972 w 2232972"/>
                <a:gd name="connsiteY6" fmla="*/ 0 h 402586"/>
                <a:gd name="connsiteX7" fmla="*/ 2232972 w 2232972"/>
                <a:gd name="connsiteY7" fmla="*/ 402586 h 402586"/>
                <a:gd name="connsiteX8" fmla="*/ 2232972 w 2232972"/>
                <a:gd name="connsiteY8" fmla="*/ 402586 h 402586"/>
                <a:gd name="connsiteX9" fmla="*/ 1674729 w 2232972"/>
                <a:gd name="connsiteY9" fmla="*/ 402586 h 402586"/>
                <a:gd name="connsiteX10" fmla="*/ 1161145 w 2232972"/>
                <a:gd name="connsiteY10" fmla="*/ 402586 h 402586"/>
                <a:gd name="connsiteX11" fmla="*/ 647562 w 2232972"/>
                <a:gd name="connsiteY11" fmla="*/ 402586 h 402586"/>
                <a:gd name="connsiteX12" fmla="*/ 0 w 2232972"/>
                <a:gd name="connsiteY12" fmla="*/ 402586 h 402586"/>
                <a:gd name="connsiteX13" fmla="*/ 0 w 2232972"/>
                <a:gd name="connsiteY13" fmla="*/ 402586 h 402586"/>
                <a:gd name="connsiteX14" fmla="*/ 0 w 2232972"/>
                <a:gd name="connsiteY14" fmla="*/ 0 h 4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32972" h="402586" fill="none" extrusionOk="0">
                  <a:moveTo>
                    <a:pt x="0" y="0"/>
                  </a:moveTo>
                  <a:lnTo>
                    <a:pt x="0" y="0"/>
                  </a:lnTo>
                  <a:cubicBezTo>
                    <a:pt x="147406" y="-11487"/>
                    <a:pt x="272346" y="7094"/>
                    <a:pt x="535913" y="0"/>
                  </a:cubicBezTo>
                  <a:cubicBezTo>
                    <a:pt x="799480" y="-7094"/>
                    <a:pt x="890176" y="14257"/>
                    <a:pt x="1094156" y="0"/>
                  </a:cubicBezTo>
                  <a:cubicBezTo>
                    <a:pt x="1298136" y="-14257"/>
                    <a:pt x="1530231" y="1464"/>
                    <a:pt x="1652399" y="0"/>
                  </a:cubicBezTo>
                  <a:cubicBezTo>
                    <a:pt x="1774567" y="-1464"/>
                    <a:pt x="2039451" y="26039"/>
                    <a:pt x="2232972" y="0"/>
                  </a:cubicBezTo>
                  <a:lnTo>
                    <a:pt x="2232972" y="0"/>
                  </a:lnTo>
                  <a:cubicBezTo>
                    <a:pt x="2219879" y="83520"/>
                    <a:pt x="2246032" y="273696"/>
                    <a:pt x="2232972" y="402586"/>
                  </a:cubicBezTo>
                  <a:lnTo>
                    <a:pt x="2232972" y="402586"/>
                  </a:lnTo>
                  <a:cubicBezTo>
                    <a:pt x="2065325" y="414939"/>
                    <a:pt x="1843769" y="402560"/>
                    <a:pt x="1674729" y="402586"/>
                  </a:cubicBezTo>
                  <a:cubicBezTo>
                    <a:pt x="1505689" y="402612"/>
                    <a:pt x="1378045" y="379808"/>
                    <a:pt x="1161145" y="402586"/>
                  </a:cubicBezTo>
                  <a:cubicBezTo>
                    <a:pt x="944245" y="425364"/>
                    <a:pt x="877932" y="399227"/>
                    <a:pt x="647562" y="402586"/>
                  </a:cubicBezTo>
                  <a:cubicBezTo>
                    <a:pt x="417192" y="405945"/>
                    <a:pt x="293594" y="374392"/>
                    <a:pt x="0" y="402586"/>
                  </a:cubicBezTo>
                  <a:lnTo>
                    <a:pt x="0" y="402586"/>
                  </a:lnTo>
                  <a:cubicBezTo>
                    <a:pt x="8541" y="294937"/>
                    <a:pt x="-19623" y="103718"/>
                    <a:pt x="0" y="0"/>
                  </a:cubicBezTo>
                  <a:close/>
                </a:path>
                <a:path w="2232972" h="402586" stroke="0" extrusionOk="0">
                  <a:moveTo>
                    <a:pt x="0" y="0"/>
                  </a:moveTo>
                  <a:lnTo>
                    <a:pt x="0" y="0"/>
                  </a:lnTo>
                  <a:cubicBezTo>
                    <a:pt x="242604" y="-9532"/>
                    <a:pt x="414600" y="-17151"/>
                    <a:pt x="535913" y="0"/>
                  </a:cubicBezTo>
                  <a:cubicBezTo>
                    <a:pt x="657226" y="17151"/>
                    <a:pt x="907053" y="-21676"/>
                    <a:pt x="1027167" y="0"/>
                  </a:cubicBezTo>
                  <a:cubicBezTo>
                    <a:pt x="1147281" y="21676"/>
                    <a:pt x="1506001" y="-16517"/>
                    <a:pt x="1630070" y="0"/>
                  </a:cubicBezTo>
                  <a:cubicBezTo>
                    <a:pt x="1754139" y="16517"/>
                    <a:pt x="2036633" y="-11698"/>
                    <a:pt x="2232972" y="0"/>
                  </a:cubicBezTo>
                  <a:lnTo>
                    <a:pt x="2232972" y="0"/>
                  </a:lnTo>
                  <a:cubicBezTo>
                    <a:pt x="2219488" y="169416"/>
                    <a:pt x="2240019" y="289193"/>
                    <a:pt x="2232972" y="402586"/>
                  </a:cubicBezTo>
                  <a:lnTo>
                    <a:pt x="2232972" y="402586"/>
                  </a:lnTo>
                  <a:cubicBezTo>
                    <a:pt x="1999455" y="420234"/>
                    <a:pt x="1921617" y="381245"/>
                    <a:pt x="1719388" y="402586"/>
                  </a:cubicBezTo>
                  <a:cubicBezTo>
                    <a:pt x="1517159" y="423927"/>
                    <a:pt x="1316657" y="395772"/>
                    <a:pt x="1205805" y="402586"/>
                  </a:cubicBezTo>
                  <a:cubicBezTo>
                    <a:pt x="1094953" y="409400"/>
                    <a:pt x="734157" y="416370"/>
                    <a:pt x="602902" y="402586"/>
                  </a:cubicBezTo>
                  <a:cubicBezTo>
                    <a:pt x="471647" y="388802"/>
                    <a:pt x="171528" y="432641"/>
                    <a:pt x="0" y="402586"/>
                  </a:cubicBezTo>
                  <a:lnTo>
                    <a:pt x="0" y="402586"/>
                  </a:lnTo>
                  <a:cubicBezTo>
                    <a:pt x="10091" y="221488"/>
                    <a:pt x="166" y="108559"/>
                    <a:pt x="0" y="0"/>
                  </a:cubicBezTo>
                  <a:close/>
                </a:path>
              </a:pathLst>
            </a:custGeom>
            <a:solidFill>
              <a:srgbClr val="FAF9F9"/>
            </a:solidFill>
            <a:ln w="3175">
              <a:solidFill>
                <a:srgbClr val="B8B8B8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4" name="Address Bar">
              <a:extLst>
                <a:ext uri="{FF2B5EF4-FFF2-40B4-BE49-F238E27FC236}">
                  <a16:creationId xmlns:a16="http://schemas.microsoft.com/office/drawing/2014/main" id="{EE4AB363-19A4-444F-AB4A-16235C4DF2D0}"/>
                </a:ext>
              </a:extLst>
            </p:cNvPr>
            <p:cNvGrpSpPr/>
            <p:nvPr/>
          </p:nvGrpSpPr>
          <p:grpSpPr>
            <a:xfrm>
              <a:off x="1551469" y="2537917"/>
              <a:ext cx="2063593" cy="200859"/>
              <a:chOff x="1551469" y="2537917"/>
              <a:chExt cx="2063593" cy="200859"/>
            </a:xfrm>
          </p:grpSpPr>
          <p:sp>
            <p:nvSpPr>
              <p:cNvPr id="227" name="Address Bar Placeholder">
                <a:extLst>
                  <a:ext uri="{FF2B5EF4-FFF2-40B4-BE49-F238E27FC236}">
                    <a16:creationId xmlns:a16="http://schemas.microsoft.com/office/drawing/2014/main" id="{19F8E0DE-2C73-4680-9586-F1C22078F8FF}"/>
                  </a:ext>
                </a:extLst>
              </p:cNvPr>
              <p:cNvSpPr/>
              <p:nvPr/>
            </p:nvSpPr>
            <p:spPr>
              <a:xfrm>
                <a:off x="1551469" y="2537917"/>
                <a:ext cx="2063593" cy="200859"/>
              </a:xfrm>
              <a:custGeom>
                <a:avLst/>
                <a:gdLst>
                  <a:gd name="connsiteX0" fmla="*/ 0 w 2063593"/>
                  <a:gd name="connsiteY0" fmla="*/ 33477 h 200859"/>
                  <a:gd name="connsiteX1" fmla="*/ 33477 w 2063593"/>
                  <a:gd name="connsiteY1" fmla="*/ 0 h 200859"/>
                  <a:gd name="connsiteX2" fmla="*/ 718990 w 2063593"/>
                  <a:gd name="connsiteY2" fmla="*/ 0 h 200859"/>
                  <a:gd name="connsiteX3" fmla="*/ 1384536 w 2063593"/>
                  <a:gd name="connsiteY3" fmla="*/ 0 h 200859"/>
                  <a:gd name="connsiteX4" fmla="*/ 2030116 w 2063593"/>
                  <a:gd name="connsiteY4" fmla="*/ 0 h 200859"/>
                  <a:gd name="connsiteX5" fmla="*/ 2063593 w 2063593"/>
                  <a:gd name="connsiteY5" fmla="*/ 33477 h 200859"/>
                  <a:gd name="connsiteX6" fmla="*/ 2063593 w 2063593"/>
                  <a:gd name="connsiteY6" fmla="*/ 167382 h 200859"/>
                  <a:gd name="connsiteX7" fmla="*/ 2030116 w 2063593"/>
                  <a:gd name="connsiteY7" fmla="*/ 200859 h 200859"/>
                  <a:gd name="connsiteX8" fmla="*/ 1344603 w 2063593"/>
                  <a:gd name="connsiteY8" fmla="*/ 200859 h 200859"/>
                  <a:gd name="connsiteX9" fmla="*/ 738956 w 2063593"/>
                  <a:gd name="connsiteY9" fmla="*/ 200859 h 200859"/>
                  <a:gd name="connsiteX10" fmla="*/ 33477 w 2063593"/>
                  <a:gd name="connsiteY10" fmla="*/ 200859 h 200859"/>
                  <a:gd name="connsiteX11" fmla="*/ 0 w 2063593"/>
                  <a:gd name="connsiteY11" fmla="*/ 167382 h 200859"/>
                  <a:gd name="connsiteX12" fmla="*/ 0 w 2063593"/>
                  <a:gd name="connsiteY12" fmla="*/ 33477 h 20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63593" h="200859" fill="none" extrusionOk="0">
                    <a:moveTo>
                      <a:pt x="0" y="33477"/>
                    </a:moveTo>
                    <a:cubicBezTo>
                      <a:pt x="-4028" y="15650"/>
                      <a:pt x="14180" y="-557"/>
                      <a:pt x="33477" y="0"/>
                    </a:cubicBezTo>
                    <a:cubicBezTo>
                      <a:pt x="327232" y="16354"/>
                      <a:pt x="563256" y="25531"/>
                      <a:pt x="718990" y="0"/>
                    </a:cubicBezTo>
                    <a:cubicBezTo>
                      <a:pt x="874724" y="-25531"/>
                      <a:pt x="1249272" y="-12811"/>
                      <a:pt x="1384536" y="0"/>
                    </a:cubicBezTo>
                    <a:cubicBezTo>
                      <a:pt x="1519800" y="12811"/>
                      <a:pt x="1805807" y="-1158"/>
                      <a:pt x="2030116" y="0"/>
                    </a:cubicBezTo>
                    <a:cubicBezTo>
                      <a:pt x="2046373" y="92"/>
                      <a:pt x="2063904" y="14428"/>
                      <a:pt x="2063593" y="33477"/>
                    </a:cubicBezTo>
                    <a:cubicBezTo>
                      <a:pt x="2064905" y="74049"/>
                      <a:pt x="2061901" y="107762"/>
                      <a:pt x="2063593" y="167382"/>
                    </a:cubicBezTo>
                    <a:cubicBezTo>
                      <a:pt x="2064639" y="187941"/>
                      <a:pt x="2047733" y="201319"/>
                      <a:pt x="2030116" y="200859"/>
                    </a:cubicBezTo>
                    <a:cubicBezTo>
                      <a:pt x="1848501" y="230173"/>
                      <a:pt x="1573211" y="175859"/>
                      <a:pt x="1344603" y="200859"/>
                    </a:cubicBezTo>
                    <a:cubicBezTo>
                      <a:pt x="1115995" y="225859"/>
                      <a:pt x="933411" y="207364"/>
                      <a:pt x="738956" y="200859"/>
                    </a:cubicBezTo>
                    <a:cubicBezTo>
                      <a:pt x="544501" y="194354"/>
                      <a:pt x="359529" y="215920"/>
                      <a:pt x="33477" y="200859"/>
                    </a:cubicBezTo>
                    <a:cubicBezTo>
                      <a:pt x="18248" y="202000"/>
                      <a:pt x="873" y="188810"/>
                      <a:pt x="0" y="167382"/>
                    </a:cubicBezTo>
                    <a:cubicBezTo>
                      <a:pt x="-5280" y="131818"/>
                      <a:pt x="4609" y="88914"/>
                      <a:pt x="0" y="33477"/>
                    </a:cubicBezTo>
                    <a:close/>
                  </a:path>
                  <a:path w="2063593" h="200859" stroke="0" extrusionOk="0">
                    <a:moveTo>
                      <a:pt x="0" y="33477"/>
                    </a:moveTo>
                    <a:cubicBezTo>
                      <a:pt x="-816" y="14484"/>
                      <a:pt x="11940" y="1144"/>
                      <a:pt x="33477" y="0"/>
                    </a:cubicBezTo>
                    <a:cubicBezTo>
                      <a:pt x="372115" y="-502"/>
                      <a:pt x="569535" y="19379"/>
                      <a:pt x="738956" y="0"/>
                    </a:cubicBezTo>
                    <a:cubicBezTo>
                      <a:pt x="908377" y="-19379"/>
                      <a:pt x="1093092" y="25059"/>
                      <a:pt x="1384536" y="0"/>
                    </a:cubicBezTo>
                    <a:cubicBezTo>
                      <a:pt x="1675980" y="-25059"/>
                      <a:pt x="1745014" y="-18367"/>
                      <a:pt x="2030116" y="0"/>
                    </a:cubicBezTo>
                    <a:cubicBezTo>
                      <a:pt x="2047982" y="-2008"/>
                      <a:pt x="2064700" y="10890"/>
                      <a:pt x="2063593" y="33477"/>
                    </a:cubicBezTo>
                    <a:cubicBezTo>
                      <a:pt x="2066029" y="78774"/>
                      <a:pt x="2058004" y="115532"/>
                      <a:pt x="2063593" y="167382"/>
                    </a:cubicBezTo>
                    <a:cubicBezTo>
                      <a:pt x="2063452" y="184523"/>
                      <a:pt x="2047555" y="202318"/>
                      <a:pt x="2030116" y="200859"/>
                    </a:cubicBezTo>
                    <a:cubicBezTo>
                      <a:pt x="1810516" y="211454"/>
                      <a:pt x="1692292" y="179922"/>
                      <a:pt x="1404502" y="200859"/>
                    </a:cubicBezTo>
                    <a:cubicBezTo>
                      <a:pt x="1116712" y="221796"/>
                      <a:pt x="1059382" y="200369"/>
                      <a:pt x="738956" y="200859"/>
                    </a:cubicBezTo>
                    <a:cubicBezTo>
                      <a:pt x="418530" y="201349"/>
                      <a:pt x="315099" y="188202"/>
                      <a:pt x="33477" y="200859"/>
                    </a:cubicBezTo>
                    <a:cubicBezTo>
                      <a:pt x="16940" y="198930"/>
                      <a:pt x="2263" y="184412"/>
                      <a:pt x="0" y="167382"/>
                    </a:cubicBezTo>
                    <a:cubicBezTo>
                      <a:pt x="1482" y="124762"/>
                      <a:pt x="-4443" y="82703"/>
                      <a:pt x="0" y="33477"/>
                    </a:cubicBezTo>
                    <a:close/>
                  </a:path>
                </a:pathLst>
              </a:custGeom>
              <a:solidFill>
                <a:srgbClr val="E7E7EA"/>
              </a:solidFill>
              <a:ln>
                <a:solidFill>
                  <a:srgbClr val="E7E7EA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ound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Website Text Placeholder">
                <a:extLst>
                  <a:ext uri="{FF2B5EF4-FFF2-40B4-BE49-F238E27FC236}">
                    <a16:creationId xmlns:a16="http://schemas.microsoft.com/office/drawing/2014/main" id="{42BA083A-D533-4613-AE42-29C82F4DE98D}"/>
                  </a:ext>
                </a:extLst>
              </p:cNvPr>
              <p:cNvSpPr txBox="1"/>
              <p:nvPr/>
            </p:nvSpPr>
            <p:spPr>
              <a:xfrm>
                <a:off x="1924445" y="2579450"/>
                <a:ext cx="1326402" cy="1046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75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.com</a:t>
                </a:r>
              </a:p>
            </p:txBody>
          </p:sp>
          <p:pic>
            <p:nvPicPr>
              <p:cNvPr id="229" name="Refresh Graphic" descr="Refresh">
                <a:extLst>
                  <a:ext uri="{FF2B5EF4-FFF2-40B4-BE49-F238E27FC236}">
                    <a16:creationId xmlns:a16="http://schemas.microsoft.com/office/drawing/2014/main" id="{F5435132-289D-4538-9C23-BB6C24A7F5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8246195">
                <a:off x="3460112" y="2586875"/>
                <a:ext cx="117597" cy="117597"/>
              </a:xfrm>
              <a:prstGeom prst="rect">
                <a:avLst/>
              </a:prstGeom>
            </p:spPr>
          </p:pic>
        </p:grpSp>
        <p:grpSp>
          <p:nvGrpSpPr>
            <p:cNvPr id="187" name="Mobile Header">
              <a:extLst>
                <a:ext uri="{FF2B5EF4-FFF2-40B4-BE49-F238E27FC236}">
                  <a16:creationId xmlns:a16="http://schemas.microsoft.com/office/drawing/2014/main" id="{D5EAED2A-3415-49EB-B754-85EBA7435110}"/>
                </a:ext>
              </a:extLst>
            </p:cNvPr>
            <p:cNvGrpSpPr/>
            <p:nvPr/>
          </p:nvGrpSpPr>
          <p:grpSpPr>
            <a:xfrm>
              <a:off x="1519184" y="2406489"/>
              <a:ext cx="2129699" cy="115185"/>
              <a:chOff x="1519184" y="2406489"/>
              <a:chExt cx="2129699" cy="115185"/>
            </a:xfrm>
          </p:grpSpPr>
          <p:grpSp>
            <p:nvGrpSpPr>
              <p:cNvPr id="217" name="Wifi Graphic">
                <a:extLst>
                  <a:ext uri="{FF2B5EF4-FFF2-40B4-BE49-F238E27FC236}">
                    <a16:creationId xmlns:a16="http://schemas.microsoft.com/office/drawing/2014/main" id="{5E238DF2-233B-4331-A1DF-91F8B74A47D1}"/>
                  </a:ext>
                </a:extLst>
              </p:cNvPr>
              <p:cNvGrpSpPr/>
              <p:nvPr/>
            </p:nvGrpSpPr>
            <p:grpSpPr>
              <a:xfrm>
                <a:off x="1519184" y="2443972"/>
                <a:ext cx="76986" cy="49748"/>
                <a:chOff x="1519184" y="2443972"/>
                <a:chExt cx="76986" cy="49748"/>
              </a:xfrm>
            </p:grpSpPr>
            <p:sp>
              <p:nvSpPr>
                <p:cNvPr id="222" name="Rectangle 4">
                  <a:extLst>
                    <a:ext uri="{FF2B5EF4-FFF2-40B4-BE49-F238E27FC236}">
                      <a16:creationId xmlns:a16="http://schemas.microsoft.com/office/drawing/2014/main" id="{7852605D-248F-4669-B764-2BA3349BC20F}"/>
                    </a:ext>
                  </a:extLst>
                </p:cNvPr>
                <p:cNvSpPr/>
                <p:nvPr/>
              </p:nvSpPr>
              <p:spPr>
                <a:xfrm>
                  <a:off x="1588109" y="2443972"/>
                  <a:ext cx="8061" cy="48368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3" name="Rectangle 3">
                  <a:extLst>
                    <a:ext uri="{FF2B5EF4-FFF2-40B4-BE49-F238E27FC236}">
                      <a16:creationId xmlns:a16="http://schemas.microsoft.com/office/drawing/2014/main" id="{AEFA2F67-C4FA-41C2-B54E-10A4E159B3D2}"/>
                    </a:ext>
                  </a:extLst>
                </p:cNvPr>
                <p:cNvSpPr/>
                <p:nvPr/>
              </p:nvSpPr>
              <p:spPr>
                <a:xfrm>
                  <a:off x="1566245" y="2451826"/>
                  <a:ext cx="8061" cy="40306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5" name="Rectangle 2">
                  <a:extLst>
                    <a:ext uri="{FF2B5EF4-FFF2-40B4-BE49-F238E27FC236}">
                      <a16:creationId xmlns:a16="http://schemas.microsoft.com/office/drawing/2014/main" id="{52F1A0BC-0403-473D-8505-CC4CCC195FA7}"/>
                    </a:ext>
                  </a:extLst>
                </p:cNvPr>
                <p:cNvSpPr/>
                <p:nvPr/>
              </p:nvSpPr>
              <p:spPr>
                <a:xfrm>
                  <a:off x="1542714" y="2461475"/>
                  <a:ext cx="8061" cy="32245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6" name="Rectangle 1">
                  <a:extLst>
                    <a:ext uri="{FF2B5EF4-FFF2-40B4-BE49-F238E27FC236}">
                      <a16:creationId xmlns:a16="http://schemas.microsoft.com/office/drawing/2014/main" id="{53634B12-CA40-4C45-8BA1-CD0CE0BB5EE5}"/>
                    </a:ext>
                  </a:extLst>
                </p:cNvPr>
                <p:cNvSpPr/>
                <p:nvPr/>
              </p:nvSpPr>
              <p:spPr>
                <a:xfrm>
                  <a:off x="1519184" y="2474221"/>
                  <a:ext cx="8061" cy="16123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8" name="Time">
                <a:extLst>
                  <a:ext uri="{FF2B5EF4-FFF2-40B4-BE49-F238E27FC236}">
                    <a16:creationId xmlns:a16="http://schemas.microsoft.com/office/drawing/2014/main" id="{126901D2-1A45-4B2B-8D14-BEC7FFB88200}"/>
                  </a:ext>
                </a:extLst>
              </p:cNvPr>
              <p:cNvSpPr txBox="1"/>
              <p:nvPr/>
            </p:nvSpPr>
            <p:spPr>
              <a:xfrm>
                <a:off x="2432687" y="2427656"/>
                <a:ext cx="315333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8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:15 PM</a:t>
                </a:r>
              </a:p>
            </p:txBody>
          </p:sp>
          <p:sp>
            <p:nvSpPr>
              <p:cNvPr id="219" name="Battery Percentage">
                <a:extLst>
                  <a:ext uri="{FF2B5EF4-FFF2-40B4-BE49-F238E27FC236}">
                    <a16:creationId xmlns:a16="http://schemas.microsoft.com/office/drawing/2014/main" id="{410FC9AC-42D1-41BA-8F9C-CC89A1C61B0E}"/>
                  </a:ext>
                </a:extLst>
              </p:cNvPr>
              <p:cNvSpPr txBox="1"/>
              <p:nvPr/>
            </p:nvSpPr>
            <p:spPr>
              <a:xfrm>
                <a:off x="3371527" y="2430363"/>
                <a:ext cx="132238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18%</a:t>
                </a:r>
              </a:p>
            </p:txBody>
          </p:sp>
          <p:pic>
            <p:nvPicPr>
              <p:cNvPr id="220" name="Signal Graphic" descr="Wi Fi">
                <a:extLst>
                  <a:ext uri="{FF2B5EF4-FFF2-40B4-BE49-F238E27FC236}">
                    <a16:creationId xmlns:a16="http://schemas.microsoft.com/office/drawing/2014/main" id="{3F12347E-DB12-4469-8F8B-0CDA420DDA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605822" y="2406489"/>
                <a:ext cx="108816" cy="108816"/>
              </a:xfrm>
              <a:prstGeom prst="rect">
                <a:avLst/>
              </a:prstGeom>
            </p:spPr>
          </p:pic>
          <p:pic>
            <p:nvPicPr>
              <p:cNvPr id="221" name="Battery Icon" descr="Empty battery">
                <a:extLst>
                  <a:ext uri="{FF2B5EF4-FFF2-40B4-BE49-F238E27FC236}">
                    <a16:creationId xmlns:a16="http://schemas.microsoft.com/office/drawing/2014/main" id="{F4F332B7-A139-4D2F-866F-FE99C6D1B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516646" y="2412857"/>
                <a:ext cx="132237" cy="108817"/>
              </a:xfrm>
              <a:prstGeom prst="rect">
                <a:avLst/>
              </a:prstGeom>
            </p:spPr>
          </p:pic>
        </p:grpSp>
        <p:grpSp>
          <p:nvGrpSpPr>
            <p:cNvPr id="190" name="Mobile Placeholder">
              <a:extLst>
                <a:ext uri="{FF2B5EF4-FFF2-40B4-BE49-F238E27FC236}">
                  <a16:creationId xmlns:a16="http://schemas.microsoft.com/office/drawing/2014/main" id="{9389A146-2D5A-4350-A1D7-91BB3442082E}"/>
                </a:ext>
              </a:extLst>
            </p:cNvPr>
            <p:cNvGrpSpPr/>
            <p:nvPr/>
          </p:nvGrpSpPr>
          <p:grpSpPr>
            <a:xfrm>
              <a:off x="1357224" y="2005431"/>
              <a:ext cx="2449955" cy="4490624"/>
              <a:chOff x="2633629" y="2629128"/>
              <a:chExt cx="1135777" cy="2228569"/>
            </a:xfrm>
          </p:grpSpPr>
          <p:sp>
            <p:nvSpPr>
              <p:cNvPr id="191" name="Mobile Device Body and Screen">
                <a:extLst>
                  <a:ext uri="{FF2B5EF4-FFF2-40B4-BE49-F238E27FC236}">
                    <a16:creationId xmlns:a16="http://schemas.microsoft.com/office/drawing/2014/main" id="{16460CB7-F80D-471F-86DC-EA4E1910FE31}"/>
                  </a:ext>
                </a:extLst>
              </p:cNvPr>
              <p:cNvSpPr/>
              <p:nvPr/>
            </p:nvSpPr>
            <p:spPr>
              <a:xfrm>
                <a:off x="2649723" y="2629583"/>
                <a:ext cx="1102071" cy="2228114"/>
              </a:xfrm>
              <a:custGeom>
                <a:avLst/>
                <a:gdLst>
                  <a:gd name="connsiteX0" fmla="*/ 40280 w 1102071"/>
                  <a:gd name="connsiteY0" fmla="*/ 199535 h 2228114"/>
                  <a:gd name="connsiteX1" fmla="*/ 40280 w 1102071"/>
                  <a:gd name="connsiteY1" fmla="*/ 1992572 h 2228114"/>
                  <a:gd name="connsiteX2" fmla="*/ 1061792 w 1102071"/>
                  <a:gd name="connsiteY2" fmla="*/ 1992572 h 2228114"/>
                  <a:gd name="connsiteX3" fmla="*/ 1061792 w 1102071"/>
                  <a:gd name="connsiteY3" fmla="*/ 199535 h 2228114"/>
                  <a:gd name="connsiteX4" fmla="*/ 152483 w 1102071"/>
                  <a:gd name="connsiteY4" fmla="*/ 0 h 2228114"/>
                  <a:gd name="connsiteX5" fmla="*/ 949588 w 1102071"/>
                  <a:gd name="connsiteY5" fmla="*/ 0 h 2228114"/>
                  <a:gd name="connsiteX6" fmla="*/ 1102071 w 1102071"/>
                  <a:gd name="connsiteY6" fmla="*/ 152483 h 2228114"/>
                  <a:gd name="connsiteX7" fmla="*/ 1102071 w 1102071"/>
                  <a:gd name="connsiteY7" fmla="*/ 2075631 h 2228114"/>
                  <a:gd name="connsiteX8" fmla="*/ 949588 w 1102071"/>
                  <a:gd name="connsiteY8" fmla="*/ 2228114 h 2228114"/>
                  <a:gd name="connsiteX9" fmla="*/ 152483 w 1102071"/>
                  <a:gd name="connsiteY9" fmla="*/ 2228114 h 2228114"/>
                  <a:gd name="connsiteX10" fmla="*/ 0 w 1102071"/>
                  <a:gd name="connsiteY10" fmla="*/ 2075631 h 2228114"/>
                  <a:gd name="connsiteX11" fmla="*/ 0 w 1102071"/>
                  <a:gd name="connsiteY11" fmla="*/ 152483 h 2228114"/>
                  <a:gd name="connsiteX12" fmla="*/ 152483 w 1102071"/>
                  <a:gd name="connsiteY12" fmla="*/ 0 h 222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071" h="2228114">
                    <a:moveTo>
                      <a:pt x="40280" y="199535"/>
                    </a:moveTo>
                    <a:lnTo>
                      <a:pt x="40280" y="1992572"/>
                    </a:lnTo>
                    <a:lnTo>
                      <a:pt x="1061792" y="1992572"/>
                    </a:lnTo>
                    <a:lnTo>
                      <a:pt x="1061792" y="199535"/>
                    </a:lnTo>
                    <a:close/>
                    <a:moveTo>
                      <a:pt x="152483" y="0"/>
                    </a:moveTo>
                    <a:lnTo>
                      <a:pt x="949588" y="0"/>
                    </a:lnTo>
                    <a:cubicBezTo>
                      <a:pt x="1033802" y="0"/>
                      <a:pt x="1102071" y="68269"/>
                      <a:pt x="1102071" y="152483"/>
                    </a:cubicBezTo>
                    <a:lnTo>
                      <a:pt x="1102071" y="2075631"/>
                    </a:lnTo>
                    <a:cubicBezTo>
                      <a:pt x="1102071" y="2159845"/>
                      <a:pt x="1033802" y="2228114"/>
                      <a:pt x="949588" y="2228114"/>
                    </a:cubicBezTo>
                    <a:lnTo>
                      <a:pt x="152483" y="2228114"/>
                    </a:lnTo>
                    <a:cubicBezTo>
                      <a:pt x="68269" y="2228114"/>
                      <a:pt x="0" y="2159845"/>
                      <a:pt x="0" y="2075631"/>
                    </a:cubicBezTo>
                    <a:lnTo>
                      <a:pt x="0" y="152483"/>
                    </a:lnTo>
                    <a:cubicBezTo>
                      <a:pt x="0" y="68269"/>
                      <a:pt x="68269" y="0"/>
                      <a:pt x="15248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Mobile Home Button">
                <a:extLst>
                  <a:ext uri="{FF2B5EF4-FFF2-40B4-BE49-F238E27FC236}">
                    <a16:creationId xmlns:a16="http://schemas.microsoft.com/office/drawing/2014/main" id="{9DB76C2C-DEE8-461F-ADA6-4AC2593ADB86}"/>
                  </a:ext>
                </a:extLst>
              </p:cNvPr>
              <p:cNvSpPr/>
              <p:nvPr/>
            </p:nvSpPr>
            <p:spPr>
              <a:xfrm>
                <a:off x="3091364" y="4689451"/>
                <a:ext cx="218789" cy="107255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Rounded Rectangle 1">
                <a:extLst>
                  <a:ext uri="{FF2B5EF4-FFF2-40B4-BE49-F238E27FC236}">
                    <a16:creationId xmlns:a16="http://schemas.microsoft.com/office/drawing/2014/main" id="{31958670-B301-44E8-9C2D-285E3581778A}"/>
                  </a:ext>
                </a:extLst>
              </p:cNvPr>
              <p:cNvSpPr/>
              <p:nvPr/>
            </p:nvSpPr>
            <p:spPr>
              <a:xfrm>
                <a:off x="3111615" y="2716500"/>
                <a:ext cx="177522" cy="26474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Oval 3">
                <a:extLst>
                  <a:ext uri="{FF2B5EF4-FFF2-40B4-BE49-F238E27FC236}">
                    <a16:creationId xmlns:a16="http://schemas.microsoft.com/office/drawing/2014/main" id="{81FFA3DC-9A86-4395-A139-D405B4415F56}"/>
                  </a:ext>
                </a:extLst>
              </p:cNvPr>
              <p:cNvSpPr/>
              <p:nvPr/>
            </p:nvSpPr>
            <p:spPr>
              <a:xfrm flipH="1">
                <a:off x="3352328" y="2714956"/>
                <a:ext cx="31884" cy="31884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Oval 2">
                <a:extLst>
                  <a:ext uri="{FF2B5EF4-FFF2-40B4-BE49-F238E27FC236}">
                    <a16:creationId xmlns:a16="http://schemas.microsoft.com/office/drawing/2014/main" id="{5A9FE67B-66C1-4457-B923-F75732CC7E20}"/>
                  </a:ext>
                </a:extLst>
              </p:cNvPr>
              <p:cNvSpPr/>
              <p:nvPr/>
            </p:nvSpPr>
            <p:spPr>
              <a:xfrm>
                <a:off x="29988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Oval 1">
                <a:extLst>
                  <a:ext uri="{FF2B5EF4-FFF2-40B4-BE49-F238E27FC236}">
                    <a16:creationId xmlns:a16="http://schemas.microsoft.com/office/drawing/2014/main" id="{17C3499F-9D65-4D8F-89EC-3AFD6A1964E0}"/>
                  </a:ext>
                </a:extLst>
              </p:cNvPr>
              <p:cNvSpPr/>
              <p:nvPr/>
            </p:nvSpPr>
            <p:spPr>
              <a:xfrm>
                <a:off x="28640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Mobile Button 3">
                <a:extLst>
                  <a:ext uri="{FF2B5EF4-FFF2-40B4-BE49-F238E27FC236}">
                    <a16:creationId xmlns:a16="http://schemas.microsoft.com/office/drawing/2014/main" id="{1EB584CC-C64B-4E84-9516-0F2848CDE869}"/>
                  </a:ext>
                </a:extLst>
              </p:cNvPr>
              <p:cNvSpPr/>
              <p:nvPr/>
            </p:nvSpPr>
            <p:spPr>
              <a:xfrm>
                <a:off x="2633630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Mobile Button 2">
                <a:extLst>
                  <a:ext uri="{FF2B5EF4-FFF2-40B4-BE49-F238E27FC236}">
                    <a16:creationId xmlns:a16="http://schemas.microsoft.com/office/drawing/2014/main" id="{65DB9D33-E62F-489D-AEBB-163B1FC8ACEA}"/>
                  </a:ext>
                </a:extLst>
              </p:cNvPr>
              <p:cNvSpPr/>
              <p:nvPr/>
            </p:nvSpPr>
            <p:spPr>
              <a:xfrm>
                <a:off x="2633629" y="3282770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Mobile Button 1">
                <a:extLst>
                  <a:ext uri="{FF2B5EF4-FFF2-40B4-BE49-F238E27FC236}">
                    <a16:creationId xmlns:a16="http://schemas.microsoft.com/office/drawing/2014/main" id="{69063770-8FB7-458F-AFD7-0D7F90701EAD}"/>
                  </a:ext>
                </a:extLst>
              </p:cNvPr>
              <p:cNvSpPr/>
              <p:nvPr/>
            </p:nvSpPr>
            <p:spPr>
              <a:xfrm>
                <a:off x="3753504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Mobile Device Outline">
                <a:extLst>
                  <a:ext uri="{FF2B5EF4-FFF2-40B4-BE49-F238E27FC236}">
                    <a16:creationId xmlns:a16="http://schemas.microsoft.com/office/drawing/2014/main" id="{86E48A58-07EE-40F2-95FF-5AAB5C67CA6C}"/>
                  </a:ext>
                </a:extLst>
              </p:cNvPr>
              <p:cNvSpPr/>
              <p:nvPr/>
            </p:nvSpPr>
            <p:spPr>
              <a:xfrm>
                <a:off x="2650578" y="2629128"/>
                <a:ext cx="1102071" cy="2228114"/>
              </a:xfrm>
              <a:prstGeom prst="roundRect">
                <a:avLst>
                  <a:gd name="adj" fmla="val 1383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8" name="Slideshow 2">
            <a:extLst>
              <a:ext uri="{FF2B5EF4-FFF2-40B4-BE49-F238E27FC236}">
                <a16:creationId xmlns:a16="http://schemas.microsoft.com/office/drawing/2014/main" id="{E994C30E-5A3B-4AA7-A877-0D09D9705162}"/>
              </a:ext>
            </a:extLst>
          </p:cNvPr>
          <p:cNvGrpSpPr/>
          <p:nvPr/>
        </p:nvGrpSpPr>
        <p:grpSpPr>
          <a:xfrm>
            <a:off x="684341" y="3282385"/>
            <a:ext cx="2474821" cy="1535606"/>
            <a:chOff x="5893023" y="8073679"/>
            <a:chExt cx="1386502" cy="810007"/>
          </a:xfrm>
        </p:grpSpPr>
        <p:sp>
          <p:nvSpPr>
            <p:cNvPr id="79" name="Picture Placeholder">
              <a:extLst>
                <a:ext uri="{FF2B5EF4-FFF2-40B4-BE49-F238E27FC236}">
                  <a16:creationId xmlns:a16="http://schemas.microsoft.com/office/drawing/2014/main" id="{8C85BA2A-7218-4E17-B39B-8916BCAE8FE3}"/>
                </a:ext>
              </a:extLst>
            </p:cNvPr>
            <p:cNvSpPr/>
            <p:nvPr/>
          </p:nvSpPr>
          <p:spPr>
            <a:xfrm>
              <a:off x="6010200" y="8073679"/>
              <a:ext cx="1151257" cy="693631"/>
            </a:xfrm>
            <a:custGeom>
              <a:avLst/>
              <a:gdLst>
                <a:gd name="connsiteX0" fmla="*/ 0 w 1151257"/>
                <a:gd name="connsiteY0" fmla="*/ 8566 h 693631"/>
                <a:gd name="connsiteX1" fmla="*/ 8566 w 1151257"/>
                <a:gd name="connsiteY1" fmla="*/ 0 h 693631"/>
                <a:gd name="connsiteX2" fmla="*/ 575629 w 1151257"/>
                <a:gd name="connsiteY2" fmla="*/ 0 h 693631"/>
                <a:gd name="connsiteX3" fmla="*/ 1142691 w 1151257"/>
                <a:gd name="connsiteY3" fmla="*/ 0 h 693631"/>
                <a:gd name="connsiteX4" fmla="*/ 1151257 w 1151257"/>
                <a:gd name="connsiteY4" fmla="*/ 8566 h 693631"/>
                <a:gd name="connsiteX5" fmla="*/ 1151257 w 1151257"/>
                <a:gd name="connsiteY5" fmla="*/ 685065 h 693631"/>
                <a:gd name="connsiteX6" fmla="*/ 1142691 w 1151257"/>
                <a:gd name="connsiteY6" fmla="*/ 693631 h 693631"/>
                <a:gd name="connsiteX7" fmla="*/ 575629 w 1151257"/>
                <a:gd name="connsiteY7" fmla="*/ 693631 h 693631"/>
                <a:gd name="connsiteX8" fmla="*/ 8566 w 1151257"/>
                <a:gd name="connsiteY8" fmla="*/ 693631 h 693631"/>
                <a:gd name="connsiteX9" fmla="*/ 0 w 1151257"/>
                <a:gd name="connsiteY9" fmla="*/ 685065 h 693631"/>
                <a:gd name="connsiteX10" fmla="*/ 0 w 1151257"/>
                <a:gd name="connsiteY10" fmla="*/ 8566 h 69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1257" h="693631" fill="none" extrusionOk="0">
                  <a:moveTo>
                    <a:pt x="0" y="8566"/>
                  </a:moveTo>
                  <a:cubicBezTo>
                    <a:pt x="-36" y="4887"/>
                    <a:pt x="3623" y="-659"/>
                    <a:pt x="8566" y="0"/>
                  </a:cubicBezTo>
                  <a:cubicBezTo>
                    <a:pt x="186046" y="-16943"/>
                    <a:pt x="368094" y="-5391"/>
                    <a:pt x="575629" y="0"/>
                  </a:cubicBezTo>
                  <a:cubicBezTo>
                    <a:pt x="783164" y="5391"/>
                    <a:pt x="920423" y="2511"/>
                    <a:pt x="1142691" y="0"/>
                  </a:cubicBezTo>
                  <a:cubicBezTo>
                    <a:pt x="1147220" y="-581"/>
                    <a:pt x="1150710" y="3366"/>
                    <a:pt x="1151257" y="8566"/>
                  </a:cubicBezTo>
                  <a:cubicBezTo>
                    <a:pt x="1128845" y="259583"/>
                    <a:pt x="1157500" y="370812"/>
                    <a:pt x="1151257" y="685065"/>
                  </a:cubicBezTo>
                  <a:cubicBezTo>
                    <a:pt x="1150784" y="689983"/>
                    <a:pt x="1147634" y="693706"/>
                    <a:pt x="1142691" y="693631"/>
                  </a:cubicBezTo>
                  <a:cubicBezTo>
                    <a:pt x="994800" y="688769"/>
                    <a:pt x="782448" y="688515"/>
                    <a:pt x="575629" y="693631"/>
                  </a:cubicBezTo>
                  <a:cubicBezTo>
                    <a:pt x="368810" y="698747"/>
                    <a:pt x="140179" y="711413"/>
                    <a:pt x="8566" y="693631"/>
                  </a:cubicBezTo>
                  <a:cubicBezTo>
                    <a:pt x="4027" y="693603"/>
                    <a:pt x="-774" y="690568"/>
                    <a:pt x="0" y="685065"/>
                  </a:cubicBezTo>
                  <a:cubicBezTo>
                    <a:pt x="11694" y="525555"/>
                    <a:pt x="-23241" y="296769"/>
                    <a:pt x="0" y="8566"/>
                  </a:cubicBezTo>
                  <a:close/>
                </a:path>
                <a:path w="1151257" h="693631" stroke="0" extrusionOk="0">
                  <a:moveTo>
                    <a:pt x="0" y="8566"/>
                  </a:moveTo>
                  <a:cubicBezTo>
                    <a:pt x="-26" y="3447"/>
                    <a:pt x="4165" y="-1006"/>
                    <a:pt x="8566" y="0"/>
                  </a:cubicBezTo>
                  <a:cubicBezTo>
                    <a:pt x="276857" y="-6123"/>
                    <a:pt x="415430" y="-11985"/>
                    <a:pt x="552946" y="0"/>
                  </a:cubicBezTo>
                  <a:cubicBezTo>
                    <a:pt x="690462" y="11985"/>
                    <a:pt x="992726" y="-15838"/>
                    <a:pt x="1142691" y="0"/>
                  </a:cubicBezTo>
                  <a:cubicBezTo>
                    <a:pt x="1147713" y="534"/>
                    <a:pt x="1151253" y="4473"/>
                    <a:pt x="1151257" y="8566"/>
                  </a:cubicBezTo>
                  <a:cubicBezTo>
                    <a:pt x="1124035" y="234463"/>
                    <a:pt x="1184467" y="504806"/>
                    <a:pt x="1151257" y="685065"/>
                  </a:cubicBezTo>
                  <a:cubicBezTo>
                    <a:pt x="1150985" y="689330"/>
                    <a:pt x="1147549" y="693497"/>
                    <a:pt x="1142691" y="693631"/>
                  </a:cubicBezTo>
                  <a:cubicBezTo>
                    <a:pt x="880247" y="694259"/>
                    <a:pt x="868694" y="705211"/>
                    <a:pt x="598311" y="693631"/>
                  </a:cubicBezTo>
                  <a:cubicBezTo>
                    <a:pt x="327928" y="682051"/>
                    <a:pt x="141152" y="705037"/>
                    <a:pt x="8566" y="693631"/>
                  </a:cubicBezTo>
                  <a:cubicBezTo>
                    <a:pt x="4556" y="693793"/>
                    <a:pt x="-472" y="690200"/>
                    <a:pt x="0" y="685065"/>
                  </a:cubicBezTo>
                  <a:cubicBezTo>
                    <a:pt x="20394" y="420098"/>
                    <a:pt x="-31892" y="319217"/>
                    <a:pt x="0" y="85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0" name="Picture Placeholder Graphic">
              <a:extLst>
                <a:ext uri="{FF2B5EF4-FFF2-40B4-BE49-F238E27FC236}">
                  <a16:creationId xmlns:a16="http://schemas.microsoft.com/office/drawing/2014/main" id="{9FEAB629-89F3-485C-BADB-D6A2B137292F}"/>
                </a:ext>
              </a:extLst>
            </p:cNvPr>
            <p:cNvGrpSpPr/>
            <p:nvPr/>
          </p:nvGrpSpPr>
          <p:grpSpPr>
            <a:xfrm>
              <a:off x="6274343" y="8262776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93" name="Triangle 2">
                <a:extLst>
                  <a:ext uri="{FF2B5EF4-FFF2-40B4-BE49-F238E27FC236}">
                    <a16:creationId xmlns:a16="http://schemas.microsoft.com/office/drawing/2014/main" id="{73FF6AD1-7C30-47E3-A0C6-D7F4840042B1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Triangle 1">
                <a:extLst>
                  <a:ext uri="{FF2B5EF4-FFF2-40B4-BE49-F238E27FC236}">
                    <a16:creationId xmlns:a16="http://schemas.microsoft.com/office/drawing/2014/main" id="{0B832E30-A053-4D22-BBD0-A72234FDF222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Circle">
                <a:extLst>
                  <a:ext uri="{FF2B5EF4-FFF2-40B4-BE49-F238E27FC236}">
                    <a16:creationId xmlns:a16="http://schemas.microsoft.com/office/drawing/2014/main" id="{462B2AC6-B38F-436F-B288-99273B38A441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1" name="Right Arrow">
              <a:extLst>
                <a:ext uri="{FF2B5EF4-FFF2-40B4-BE49-F238E27FC236}">
                  <a16:creationId xmlns:a16="http://schemas.microsoft.com/office/drawing/2014/main" id="{0D9E9CB4-9610-42DD-A3C5-C3C133F7B6D4}"/>
                </a:ext>
              </a:extLst>
            </p:cNvPr>
            <p:cNvGrpSpPr/>
            <p:nvPr/>
          </p:nvGrpSpPr>
          <p:grpSpPr>
            <a:xfrm rot="13229624">
              <a:off x="7213694" y="8390293"/>
              <a:ext cx="65831" cy="65841"/>
              <a:chOff x="1480962" y="3194958"/>
              <a:chExt cx="182923" cy="191607"/>
            </a:xfrm>
          </p:grpSpPr>
          <p:cxnSp>
            <p:nvCxnSpPr>
              <p:cNvPr id="91" name="Line 2">
                <a:extLst>
                  <a:ext uri="{FF2B5EF4-FFF2-40B4-BE49-F238E27FC236}">
                    <a16:creationId xmlns:a16="http://schemas.microsoft.com/office/drawing/2014/main" id="{58E778E0-BBC3-47EC-8DD2-1C8AE9D2641A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58" y="3276838"/>
                <a:ext cx="109727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Line 1">
                <a:extLst>
                  <a:ext uri="{FF2B5EF4-FFF2-40B4-BE49-F238E27FC236}">
                    <a16:creationId xmlns:a16="http://schemas.microsoft.com/office/drawing/2014/main" id="{FB711894-3E4B-435E-BDA2-F02FFBC53EBE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62" y="3194958"/>
                <a:ext cx="109725" cy="109725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2" name="Left Arrow">
              <a:extLst>
                <a:ext uri="{FF2B5EF4-FFF2-40B4-BE49-F238E27FC236}">
                  <a16:creationId xmlns:a16="http://schemas.microsoft.com/office/drawing/2014/main" id="{81453AFE-5BEA-4696-8AE9-8EB30ECBCB0B}"/>
                </a:ext>
              </a:extLst>
            </p:cNvPr>
            <p:cNvGrpSpPr/>
            <p:nvPr/>
          </p:nvGrpSpPr>
          <p:grpSpPr>
            <a:xfrm rot="8370376" flipH="1">
              <a:off x="5893023" y="8388223"/>
              <a:ext cx="65831" cy="65837"/>
              <a:chOff x="1480955" y="3194964"/>
              <a:chExt cx="182924" cy="191600"/>
            </a:xfrm>
          </p:grpSpPr>
          <p:cxnSp>
            <p:nvCxnSpPr>
              <p:cNvPr id="89" name="Line 2">
                <a:extLst>
                  <a:ext uri="{FF2B5EF4-FFF2-40B4-BE49-F238E27FC236}">
                    <a16:creationId xmlns:a16="http://schemas.microsoft.com/office/drawing/2014/main" id="{2DDCEBE6-6C98-44E3-B239-25FA53E81607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Line 1">
                <a:extLst>
                  <a:ext uri="{FF2B5EF4-FFF2-40B4-BE49-F238E27FC236}">
                    <a16:creationId xmlns:a16="http://schemas.microsoft.com/office/drawing/2014/main" id="{990CFC44-A830-470F-BD0B-F45344E10CC2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Slideshow Options">
              <a:extLst>
                <a:ext uri="{FF2B5EF4-FFF2-40B4-BE49-F238E27FC236}">
                  <a16:creationId xmlns:a16="http://schemas.microsoft.com/office/drawing/2014/main" id="{6DAF82C3-F44C-4070-B7C3-DF19428D9108}"/>
                </a:ext>
              </a:extLst>
            </p:cNvPr>
            <p:cNvGrpSpPr/>
            <p:nvPr/>
          </p:nvGrpSpPr>
          <p:grpSpPr>
            <a:xfrm>
              <a:off x="6432814" y="8841399"/>
              <a:ext cx="315468" cy="42287"/>
              <a:chOff x="4681370" y="10451274"/>
              <a:chExt cx="350636" cy="47002"/>
            </a:xfrm>
          </p:grpSpPr>
          <p:sp>
            <p:nvSpPr>
              <p:cNvPr id="84" name="Circle">
                <a:extLst>
                  <a:ext uri="{FF2B5EF4-FFF2-40B4-BE49-F238E27FC236}">
                    <a16:creationId xmlns:a16="http://schemas.microsoft.com/office/drawing/2014/main" id="{16001921-0CCC-4E7E-9826-D0DA28BAC9D5}"/>
                  </a:ext>
                </a:extLst>
              </p:cNvPr>
              <p:cNvSpPr/>
              <p:nvPr/>
            </p:nvSpPr>
            <p:spPr>
              <a:xfrm>
                <a:off x="4985226" y="1045146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extrusionOk="0">
                    <a:moveTo>
                      <a:pt x="0" y="23390"/>
                    </a:moveTo>
                    <a:cubicBezTo>
                      <a:pt x="-886" y="9925"/>
                      <a:pt x="9464" y="378"/>
                      <a:pt x="23390" y="0"/>
                    </a:cubicBezTo>
                    <a:cubicBezTo>
                      <a:pt x="38435" y="448"/>
                      <a:pt x="44510" y="10544"/>
                      <a:pt x="46780" y="23390"/>
                    </a:cubicBezTo>
                    <a:cubicBezTo>
                      <a:pt x="45034" y="38013"/>
                      <a:pt x="35944" y="48794"/>
                      <a:pt x="23390" y="46780"/>
                    </a:cubicBezTo>
                    <a:cubicBezTo>
                      <a:pt x="8622" y="45768"/>
                      <a:pt x="1338" y="36947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Circle">
                <a:extLst>
                  <a:ext uri="{FF2B5EF4-FFF2-40B4-BE49-F238E27FC236}">
                    <a16:creationId xmlns:a16="http://schemas.microsoft.com/office/drawing/2014/main" id="{BF50C58B-D9B2-4DF7-9058-908B5EB0FEA7}"/>
                  </a:ext>
                </a:extLst>
              </p:cNvPr>
              <p:cNvSpPr/>
              <p:nvPr/>
            </p:nvSpPr>
            <p:spPr>
              <a:xfrm>
                <a:off x="4909855" y="10451274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-348" y="10488"/>
                      <a:pt x="11055" y="573"/>
                      <a:pt x="23390" y="0"/>
                    </a:cubicBezTo>
                    <a:cubicBezTo>
                      <a:pt x="37219" y="1869"/>
                      <a:pt x="46829" y="11973"/>
                      <a:pt x="46780" y="23391"/>
                    </a:cubicBezTo>
                    <a:cubicBezTo>
                      <a:pt x="46347" y="35656"/>
                      <a:pt x="36751" y="47318"/>
                      <a:pt x="23390" y="46782"/>
                    </a:cubicBezTo>
                    <a:cubicBezTo>
                      <a:pt x="10804" y="45549"/>
                      <a:pt x="752" y="37710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Circle">
                <a:extLst>
                  <a:ext uri="{FF2B5EF4-FFF2-40B4-BE49-F238E27FC236}">
                    <a16:creationId xmlns:a16="http://schemas.microsoft.com/office/drawing/2014/main" id="{CE677378-595D-4297-BC9B-FD708D31ABFD}"/>
                  </a:ext>
                </a:extLst>
              </p:cNvPr>
              <p:cNvSpPr/>
              <p:nvPr/>
            </p:nvSpPr>
            <p:spPr>
              <a:xfrm>
                <a:off x="4834488" y="10451342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114" y="9613"/>
                      <a:pt x="12313" y="1483"/>
                      <a:pt x="23390" y="0"/>
                    </a:cubicBezTo>
                    <a:cubicBezTo>
                      <a:pt x="35322" y="-373"/>
                      <a:pt x="47235" y="8876"/>
                      <a:pt x="46780" y="23391"/>
                    </a:cubicBezTo>
                    <a:cubicBezTo>
                      <a:pt x="47961" y="35529"/>
                      <a:pt x="35600" y="48586"/>
                      <a:pt x="23390" y="46782"/>
                    </a:cubicBezTo>
                    <a:cubicBezTo>
                      <a:pt x="10409" y="46987"/>
                      <a:pt x="835" y="35575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26649898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" name="Circle">
                <a:extLst>
                  <a:ext uri="{FF2B5EF4-FFF2-40B4-BE49-F238E27FC236}">
                    <a16:creationId xmlns:a16="http://schemas.microsoft.com/office/drawing/2014/main" id="{06185099-A811-4B44-9271-D520A9F91F64}"/>
                  </a:ext>
                </a:extLst>
              </p:cNvPr>
              <p:cNvSpPr/>
              <p:nvPr/>
            </p:nvSpPr>
            <p:spPr>
              <a:xfrm>
                <a:off x="475912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extrusionOk="0">
                    <a:moveTo>
                      <a:pt x="0" y="23390"/>
                    </a:moveTo>
                    <a:cubicBezTo>
                      <a:pt x="-1212" y="9047"/>
                      <a:pt x="11175" y="-255"/>
                      <a:pt x="23390" y="0"/>
                    </a:cubicBezTo>
                    <a:cubicBezTo>
                      <a:pt x="34841" y="824"/>
                      <a:pt x="48750" y="9884"/>
                      <a:pt x="46780" y="23390"/>
                    </a:cubicBezTo>
                    <a:cubicBezTo>
                      <a:pt x="46279" y="35310"/>
                      <a:pt x="35908" y="48026"/>
                      <a:pt x="23390" y="46780"/>
                    </a:cubicBezTo>
                    <a:cubicBezTo>
                      <a:pt x="11139" y="45861"/>
                      <a:pt x="947" y="36230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87924873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Filled Circle">
                <a:extLst>
                  <a:ext uri="{FF2B5EF4-FFF2-40B4-BE49-F238E27FC236}">
                    <a16:creationId xmlns:a16="http://schemas.microsoft.com/office/drawing/2014/main" id="{BC8D7F7C-7734-4234-9CAF-B5A6060FF2DA}"/>
                  </a:ext>
                </a:extLst>
              </p:cNvPr>
              <p:cNvSpPr/>
              <p:nvPr/>
            </p:nvSpPr>
            <p:spPr>
              <a:xfrm>
                <a:off x="468137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fill="none" extrusionOk="0">
                    <a:moveTo>
                      <a:pt x="0" y="23390"/>
                    </a:moveTo>
                    <a:cubicBezTo>
                      <a:pt x="8" y="8503"/>
                      <a:pt x="8523" y="-671"/>
                      <a:pt x="23390" y="0"/>
                    </a:cubicBezTo>
                    <a:cubicBezTo>
                      <a:pt x="37598" y="1296"/>
                      <a:pt x="45591" y="8960"/>
                      <a:pt x="46780" y="23390"/>
                    </a:cubicBezTo>
                    <a:cubicBezTo>
                      <a:pt x="47615" y="34113"/>
                      <a:pt x="37153" y="47007"/>
                      <a:pt x="23390" y="46780"/>
                    </a:cubicBezTo>
                    <a:cubicBezTo>
                      <a:pt x="10194" y="45197"/>
                      <a:pt x="-637" y="35071"/>
                      <a:pt x="0" y="23390"/>
                    </a:cubicBezTo>
                    <a:close/>
                  </a:path>
                  <a:path w="46780" h="46779" stroke="0" extrusionOk="0">
                    <a:moveTo>
                      <a:pt x="0" y="23390"/>
                    </a:moveTo>
                    <a:cubicBezTo>
                      <a:pt x="-230" y="9828"/>
                      <a:pt x="10446" y="-318"/>
                      <a:pt x="23390" y="0"/>
                    </a:cubicBezTo>
                    <a:cubicBezTo>
                      <a:pt x="35368" y="-228"/>
                      <a:pt x="45148" y="10779"/>
                      <a:pt x="46780" y="23390"/>
                    </a:cubicBezTo>
                    <a:cubicBezTo>
                      <a:pt x="47835" y="38540"/>
                      <a:pt x="38194" y="45997"/>
                      <a:pt x="23390" y="46780"/>
                    </a:cubicBezTo>
                    <a:cubicBezTo>
                      <a:pt x="13007" y="46900"/>
                      <a:pt x="99" y="37444"/>
                      <a:pt x="0" y="2339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4327539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96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512E30CB-5AC4-49B9-AA9F-19D26723B30C}"/>
              </a:ext>
            </a:extLst>
          </p:cNvPr>
          <p:cNvGrpSpPr/>
          <p:nvPr/>
        </p:nvGrpSpPr>
        <p:grpSpPr>
          <a:xfrm>
            <a:off x="3383149" y="3233948"/>
            <a:ext cx="2756559" cy="1363417"/>
            <a:chOff x="-5326399" y="1380314"/>
            <a:chExt cx="1228382" cy="622836"/>
          </a:xfrm>
        </p:grpSpPr>
        <p:sp>
          <p:nvSpPr>
            <p:cNvPr id="97" name="Rectangle 5">
              <a:extLst>
                <a:ext uri="{FF2B5EF4-FFF2-40B4-BE49-F238E27FC236}">
                  <a16:creationId xmlns:a16="http://schemas.microsoft.com/office/drawing/2014/main" id="{B42A0076-D040-4937-8B46-68C06773144D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228381"/>
                <a:gd name="connsiteY0" fmla="*/ 0 h 64008"/>
                <a:gd name="connsiteX1" fmla="*/ 614191 w 1228381"/>
                <a:gd name="connsiteY1" fmla="*/ 0 h 64008"/>
                <a:gd name="connsiteX2" fmla="*/ 1228381 w 1228381"/>
                <a:gd name="connsiteY2" fmla="*/ 0 h 64008"/>
                <a:gd name="connsiteX3" fmla="*/ 1228381 w 1228381"/>
                <a:gd name="connsiteY3" fmla="*/ 64008 h 64008"/>
                <a:gd name="connsiteX4" fmla="*/ 589623 w 1228381"/>
                <a:gd name="connsiteY4" fmla="*/ 64008 h 64008"/>
                <a:gd name="connsiteX5" fmla="*/ 0 w 1228381"/>
                <a:gd name="connsiteY5" fmla="*/ 64008 h 64008"/>
                <a:gd name="connsiteX6" fmla="*/ 0 w 1228381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8381" h="64008" fill="none" extrusionOk="0">
                  <a:moveTo>
                    <a:pt x="0" y="0"/>
                  </a:moveTo>
                  <a:cubicBezTo>
                    <a:pt x="165142" y="-26428"/>
                    <a:pt x="313313" y="-27854"/>
                    <a:pt x="614191" y="0"/>
                  </a:cubicBezTo>
                  <a:cubicBezTo>
                    <a:pt x="915069" y="27854"/>
                    <a:pt x="997070" y="-23687"/>
                    <a:pt x="1228381" y="0"/>
                  </a:cubicBezTo>
                  <a:cubicBezTo>
                    <a:pt x="1231048" y="27787"/>
                    <a:pt x="1228947" y="42632"/>
                    <a:pt x="1228381" y="64008"/>
                  </a:cubicBezTo>
                  <a:cubicBezTo>
                    <a:pt x="922052" y="77269"/>
                    <a:pt x="869818" y="72455"/>
                    <a:pt x="589623" y="64008"/>
                  </a:cubicBezTo>
                  <a:cubicBezTo>
                    <a:pt x="309428" y="55561"/>
                    <a:pt x="127275" y="82096"/>
                    <a:pt x="0" y="64008"/>
                  </a:cubicBezTo>
                  <a:cubicBezTo>
                    <a:pt x="279" y="44606"/>
                    <a:pt x="-934" y="25820"/>
                    <a:pt x="0" y="0"/>
                  </a:cubicBezTo>
                  <a:close/>
                </a:path>
                <a:path w="1228381" h="64008" stroke="0" extrusionOk="0">
                  <a:moveTo>
                    <a:pt x="0" y="0"/>
                  </a:moveTo>
                  <a:cubicBezTo>
                    <a:pt x="167411" y="-22089"/>
                    <a:pt x="426488" y="1143"/>
                    <a:pt x="626474" y="0"/>
                  </a:cubicBezTo>
                  <a:cubicBezTo>
                    <a:pt x="826460" y="-1143"/>
                    <a:pt x="959873" y="19830"/>
                    <a:pt x="1228381" y="0"/>
                  </a:cubicBezTo>
                  <a:cubicBezTo>
                    <a:pt x="1225713" y="24987"/>
                    <a:pt x="1227770" y="51127"/>
                    <a:pt x="1228381" y="64008"/>
                  </a:cubicBezTo>
                  <a:cubicBezTo>
                    <a:pt x="964899" y="41709"/>
                    <a:pt x="898730" y="60030"/>
                    <a:pt x="589623" y="64008"/>
                  </a:cubicBezTo>
                  <a:cubicBezTo>
                    <a:pt x="280516" y="67986"/>
                    <a:pt x="166407" y="35384"/>
                    <a:pt x="0" y="64008"/>
                  </a:cubicBezTo>
                  <a:cubicBezTo>
                    <a:pt x="-1646" y="44721"/>
                    <a:pt x="1257" y="167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tangle 4">
              <a:extLst>
                <a:ext uri="{FF2B5EF4-FFF2-40B4-BE49-F238E27FC236}">
                  <a16:creationId xmlns:a16="http://schemas.microsoft.com/office/drawing/2014/main" id="{CFFEF28E-7271-4218-804C-7F0AA77F37E0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156123"/>
                <a:gd name="connsiteY0" fmla="*/ 0 h 64008"/>
                <a:gd name="connsiteX1" fmla="*/ 601184 w 1156123"/>
                <a:gd name="connsiteY1" fmla="*/ 0 h 64008"/>
                <a:gd name="connsiteX2" fmla="*/ 1156123 w 1156123"/>
                <a:gd name="connsiteY2" fmla="*/ 0 h 64008"/>
                <a:gd name="connsiteX3" fmla="*/ 1156123 w 1156123"/>
                <a:gd name="connsiteY3" fmla="*/ 64008 h 64008"/>
                <a:gd name="connsiteX4" fmla="*/ 566500 w 1156123"/>
                <a:gd name="connsiteY4" fmla="*/ 64008 h 64008"/>
                <a:gd name="connsiteX5" fmla="*/ 0 w 1156123"/>
                <a:gd name="connsiteY5" fmla="*/ 64008 h 64008"/>
                <a:gd name="connsiteX6" fmla="*/ 0 w 1156123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123" h="64008" fill="none" extrusionOk="0">
                  <a:moveTo>
                    <a:pt x="0" y="0"/>
                  </a:moveTo>
                  <a:cubicBezTo>
                    <a:pt x="138334" y="-18225"/>
                    <a:pt x="313638" y="20190"/>
                    <a:pt x="601184" y="0"/>
                  </a:cubicBezTo>
                  <a:cubicBezTo>
                    <a:pt x="888730" y="-20190"/>
                    <a:pt x="1032926" y="14422"/>
                    <a:pt x="1156123" y="0"/>
                  </a:cubicBezTo>
                  <a:cubicBezTo>
                    <a:pt x="1157324" y="16741"/>
                    <a:pt x="1153679" y="41845"/>
                    <a:pt x="1156123" y="64008"/>
                  </a:cubicBezTo>
                  <a:cubicBezTo>
                    <a:pt x="916827" y="39633"/>
                    <a:pt x="766170" y="43302"/>
                    <a:pt x="566500" y="64008"/>
                  </a:cubicBezTo>
                  <a:cubicBezTo>
                    <a:pt x="366830" y="84714"/>
                    <a:pt x="154499" y="76833"/>
                    <a:pt x="0" y="64008"/>
                  </a:cubicBezTo>
                  <a:cubicBezTo>
                    <a:pt x="1422" y="39840"/>
                    <a:pt x="2711" y="23338"/>
                    <a:pt x="0" y="0"/>
                  </a:cubicBezTo>
                  <a:close/>
                </a:path>
                <a:path w="1156123" h="64008" stroke="0" extrusionOk="0">
                  <a:moveTo>
                    <a:pt x="0" y="0"/>
                  </a:moveTo>
                  <a:cubicBezTo>
                    <a:pt x="166219" y="-22033"/>
                    <a:pt x="353438" y="27318"/>
                    <a:pt x="554939" y="0"/>
                  </a:cubicBezTo>
                  <a:cubicBezTo>
                    <a:pt x="756440" y="-27318"/>
                    <a:pt x="952613" y="-20057"/>
                    <a:pt x="1156123" y="0"/>
                  </a:cubicBezTo>
                  <a:cubicBezTo>
                    <a:pt x="1155374" y="20271"/>
                    <a:pt x="1158168" y="49605"/>
                    <a:pt x="1156123" y="64008"/>
                  </a:cubicBezTo>
                  <a:cubicBezTo>
                    <a:pt x="901980" y="83371"/>
                    <a:pt x="716074" y="68995"/>
                    <a:pt x="566500" y="64008"/>
                  </a:cubicBezTo>
                  <a:cubicBezTo>
                    <a:pt x="416926" y="59021"/>
                    <a:pt x="195891" y="79443"/>
                    <a:pt x="0" y="64008"/>
                  </a:cubicBezTo>
                  <a:cubicBezTo>
                    <a:pt x="2854" y="41256"/>
                    <a:pt x="2167" y="1843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tangle 3">
              <a:extLst>
                <a:ext uri="{FF2B5EF4-FFF2-40B4-BE49-F238E27FC236}">
                  <a16:creationId xmlns:a16="http://schemas.microsoft.com/office/drawing/2014/main" id="{E53D44B8-9921-4CBD-9BFE-E5322710719D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932688"/>
                <a:gd name="connsiteY0" fmla="*/ 0 h 64008"/>
                <a:gd name="connsiteX1" fmla="*/ 475671 w 932688"/>
                <a:gd name="connsiteY1" fmla="*/ 0 h 64008"/>
                <a:gd name="connsiteX2" fmla="*/ 932688 w 932688"/>
                <a:gd name="connsiteY2" fmla="*/ 0 h 64008"/>
                <a:gd name="connsiteX3" fmla="*/ 932688 w 932688"/>
                <a:gd name="connsiteY3" fmla="*/ 64008 h 64008"/>
                <a:gd name="connsiteX4" fmla="*/ 447690 w 932688"/>
                <a:gd name="connsiteY4" fmla="*/ 64008 h 64008"/>
                <a:gd name="connsiteX5" fmla="*/ 0 w 932688"/>
                <a:gd name="connsiteY5" fmla="*/ 64008 h 64008"/>
                <a:gd name="connsiteX6" fmla="*/ 0 w 93268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2688" h="64008" fill="none" extrusionOk="0">
                  <a:moveTo>
                    <a:pt x="0" y="0"/>
                  </a:moveTo>
                  <a:cubicBezTo>
                    <a:pt x="109317" y="3578"/>
                    <a:pt x="347583" y="22913"/>
                    <a:pt x="475671" y="0"/>
                  </a:cubicBezTo>
                  <a:cubicBezTo>
                    <a:pt x="603759" y="-22913"/>
                    <a:pt x="760272" y="8236"/>
                    <a:pt x="932688" y="0"/>
                  </a:cubicBezTo>
                  <a:cubicBezTo>
                    <a:pt x="932471" y="28692"/>
                    <a:pt x="934511" y="49533"/>
                    <a:pt x="932688" y="64008"/>
                  </a:cubicBezTo>
                  <a:cubicBezTo>
                    <a:pt x="735398" y="61622"/>
                    <a:pt x="633287" y="49920"/>
                    <a:pt x="447690" y="64008"/>
                  </a:cubicBezTo>
                  <a:cubicBezTo>
                    <a:pt x="262093" y="78096"/>
                    <a:pt x="98017" y="51756"/>
                    <a:pt x="0" y="64008"/>
                  </a:cubicBezTo>
                  <a:cubicBezTo>
                    <a:pt x="-1284" y="37907"/>
                    <a:pt x="510" y="23488"/>
                    <a:pt x="0" y="0"/>
                  </a:cubicBezTo>
                  <a:close/>
                </a:path>
                <a:path w="932688" h="64008" stroke="0" extrusionOk="0">
                  <a:moveTo>
                    <a:pt x="0" y="0"/>
                  </a:moveTo>
                  <a:cubicBezTo>
                    <a:pt x="200156" y="19546"/>
                    <a:pt x="294544" y="-7345"/>
                    <a:pt x="447690" y="0"/>
                  </a:cubicBezTo>
                  <a:cubicBezTo>
                    <a:pt x="600836" y="7345"/>
                    <a:pt x="738317" y="18659"/>
                    <a:pt x="932688" y="0"/>
                  </a:cubicBezTo>
                  <a:cubicBezTo>
                    <a:pt x="930798" y="18002"/>
                    <a:pt x="934551" y="37102"/>
                    <a:pt x="932688" y="64008"/>
                  </a:cubicBezTo>
                  <a:cubicBezTo>
                    <a:pt x="742216" y="82812"/>
                    <a:pt x="616855" y="63230"/>
                    <a:pt x="457017" y="64008"/>
                  </a:cubicBezTo>
                  <a:cubicBezTo>
                    <a:pt x="297179" y="64786"/>
                    <a:pt x="180098" y="47449"/>
                    <a:pt x="0" y="64008"/>
                  </a:cubicBezTo>
                  <a:cubicBezTo>
                    <a:pt x="-80" y="37080"/>
                    <a:pt x="3083" y="147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ctangle 2">
              <a:extLst>
                <a:ext uri="{FF2B5EF4-FFF2-40B4-BE49-F238E27FC236}">
                  <a16:creationId xmlns:a16="http://schemas.microsoft.com/office/drawing/2014/main" id="{7555AD21-E6F5-4A44-A856-A7F48C6CF1B2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011608"/>
                <a:gd name="connsiteY0" fmla="*/ 0 h 64008"/>
                <a:gd name="connsiteX1" fmla="*/ 475456 w 1011608"/>
                <a:gd name="connsiteY1" fmla="*/ 0 h 64008"/>
                <a:gd name="connsiteX2" fmla="*/ 1011608 w 1011608"/>
                <a:gd name="connsiteY2" fmla="*/ 0 h 64008"/>
                <a:gd name="connsiteX3" fmla="*/ 1011608 w 1011608"/>
                <a:gd name="connsiteY3" fmla="*/ 64008 h 64008"/>
                <a:gd name="connsiteX4" fmla="*/ 495688 w 1011608"/>
                <a:gd name="connsiteY4" fmla="*/ 64008 h 64008"/>
                <a:gd name="connsiteX5" fmla="*/ 0 w 1011608"/>
                <a:gd name="connsiteY5" fmla="*/ 64008 h 64008"/>
                <a:gd name="connsiteX6" fmla="*/ 0 w 101160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1608" h="64008" fill="none" extrusionOk="0">
                  <a:moveTo>
                    <a:pt x="0" y="0"/>
                  </a:moveTo>
                  <a:cubicBezTo>
                    <a:pt x="197554" y="-21691"/>
                    <a:pt x="380014" y="-11599"/>
                    <a:pt x="475456" y="0"/>
                  </a:cubicBezTo>
                  <a:cubicBezTo>
                    <a:pt x="570898" y="11599"/>
                    <a:pt x="782937" y="-5214"/>
                    <a:pt x="1011608" y="0"/>
                  </a:cubicBezTo>
                  <a:cubicBezTo>
                    <a:pt x="1011841" y="15641"/>
                    <a:pt x="1009721" y="34909"/>
                    <a:pt x="1011608" y="64008"/>
                  </a:cubicBezTo>
                  <a:cubicBezTo>
                    <a:pt x="779116" y="85202"/>
                    <a:pt x="615303" y="78058"/>
                    <a:pt x="495688" y="64008"/>
                  </a:cubicBezTo>
                  <a:cubicBezTo>
                    <a:pt x="376073" y="49958"/>
                    <a:pt x="140136" y="47640"/>
                    <a:pt x="0" y="64008"/>
                  </a:cubicBezTo>
                  <a:cubicBezTo>
                    <a:pt x="3173" y="46995"/>
                    <a:pt x="-2625" y="25867"/>
                    <a:pt x="0" y="0"/>
                  </a:cubicBezTo>
                  <a:close/>
                </a:path>
                <a:path w="1011608" h="64008" stroke="0" extrusionOk="0">
                  <a:moveTo>
                    <a:pt x="0" y="0"/>
                  </a:moveTo>
                  <a:cubicBezTo>
                    <a:pt x="187624" y="-17970"/>
                    <a:pt x="388346" y="13916"/>
                    <a:pt x="485572" y="0"/>
                  </a:cubicBezTo>
                  <a:cubicBezTo>
                    <a:pt x="582798" y="-13916"/>
                    <a:pt x="756689" y="9945"/>
                    <a:pt x="1011608" y="0"/>
                  </a:cubicBezTo>
                  <a:cubicBezTo>
                    <a:pt x="1009361" y="30074"/>
                    <a:pt x="1012688" y="42635"/>
                    <a:pt x="1011608" y="64008"/>
                  </a:cubicBezTo>
                  <a:cubicBezTo>
                    <a:pt x="854532" y="57458"/>
                    <a:pt x="733233" y="54927"/>
                    <a:pt x="505804" y="64008"/>
                  </a:cubicBezTo>
                  <a:cubicBezTo>
                    <a:pt x="278375" y="73089"/>
                    <a:pt x="130855" y="42822"/>
                    <a:pt x="0" y="64008"/>
                  </a:cubicBezTo>
                  <a:cubicBezTo>
                    <a:pt x="-3178" y="36820"/>
                    <a:pt x="-2722" y="28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tangle 1">
              <a:extLst>
                <a:ext uri="{FF2B5EF4-FFF2-40B4-BE49-F238E27FC236}">
                  <a16:creationId xmlns:a16="http://schemas.microsoft.com/office/drawing/2014/main" id="{02B0C9E4-CB2F-47FF-892D-DF6F62EBF7DA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869092"/>
                <a:gd name="connsiteY0" fmla="*/ 0 h 64008"/>
                <a:gd name="connsiteX1" fmla="*/ 451928 w 869092"/>
                <a:gd name="connsiteY1" fmla="*/ 0 h 64008"/>
                <a:gd name="connsiteX2" fmla="*/ 869092 w 869092"/>
                <a:gd name="connsiteY2" fmla="*/ 0 h 64008"/>
                <a:gd name="connsiteX3" fmla="*/ 869092 w 869092"/>
                <a:gd name="connsiteY3" fmla="*/ 64008 h 64008"/>
                <a:gd name="connsiteX4" fmla="*/ 443237 w 869092"/>
                <a:gd name="connsiteY4" fmla="*/ 64008 h 64008"/>
                <a:gd name="connsiteX5" fmla="*/ 0 w 869092"/>
                <a:gd name="connsiteY5" fmla="*/ 64008 h 64008"/>
                <a:gd name="connsiteX6" fmla="*/ 0 w 869092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092" h="64008" fill="none" extrusionOk="0">
                  <a:moveTo>
                    <a:pt x="0" y="0"/>
                  </a:moveTo>
                  <a:cubicBezTo>
                    <a:pt x="109012" y="18379"/>
                    <a:pt x="348535" y="-18141"/>
                    <a:pt x="451928" y="0"/>
                  </a:cubicBezTo>
                  <a:cubicBezTo>
                    <a:pt x="555321" y="18141"/>
                    <a:pt x="748048" y="-6654"/>
                    <a:pt x="869092" y="0"/>
                  </a:cubicBezTo>
                  <a:cubicBezTo>
                    <a:pt x="872239" y="21123"/>
                    <a:pt x="867620" y="35558"/>
                    <a:pt x="869092" y="64008"/>
                  </a:cubicBezTo>
                  <a:cubicBezTo>
                    <a:pt x="682938" y="74288"/>
                    <a:pt x="584473" y="51890"/>
                    <a:pt x="443237" y="64008"/>
                  </a:cubicBezTo>
                  <a:cubicBezTo>
                    <a:pt x="302002" y="76126"/>
                    <a:pt x="150286" y="50849"/>
                    <a:pt x="0" y="64008"/>
                  </a:cubicBezTo>
                  <a:cubicBezTo>
                    <a:pt x="-2411" y="33843"/>
                    <a:pt x="1447" y="23221"/>
                    <a:pt x="0" y="0"/>
                  </a:cubicBezTo>
                  <a:close/>
                </a:path>
                <a:path w="869092" h="64008" stroke="0" extrusionOk="0">
                  <a:moveTo>
                    <a:pt x="0" y="0"/>
                  </a:moveTo>
                  <a:cubicBezTo>
                    <a:pt x="154071" y="-18764"/>
                    <a:pt x="254687" y="20448"/>
                    <a:pt x="425855" y="0"/>
                  </a:cubicBezTo>
                  <a:cubicBezTo>
                    <a:pt x="597023" y="-20448"/>
                    <a:pt x="739597" y="3820"/>
                    <a:pt x="869092" y="0"/>
                  </a:cubicBezTo>
                  <a:cubicBezTo>
                    <a:pt x="870588" y="25188"/>
                    <a:pt x="869529" y="50929"/>
                    <a:pt x="869092" y="64008"/>
                  </a:cubicBezTo>
                  <a:cubicBezTo>
                    <a:pt x="728868" y="65134"/>
                    <a:pt x="620845" y="85554"/>
                    <a:pt x="434546" y="64008"/>
                  </a:cubicBezTo>
                  <a:cubicBezTo>
                    <a:pt x="248247" y="42462"/>
                    <a:pt x="134031" y="80743"/>
                    <a:pt x="0" y="64008"/>
                  </a:cubicBezTo>
                  <a:cubicBezTo>
                    <a:pt x="-2503" y="44586"/>
                    <a:pt x="3172" y="2066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2" name="Slideshow 2">
            <a:extLst>
              <a:ext uri="{FF2B5EF4-FFF2-40B4-BE49-F238E27FC236}">
                <a16:creationId xmlns:a16="http://schemas.microsoft.com/office/drawing/2014/main" id="{952E0FBE-C46F-4A48-ACC8-44734EA8B6AA}"/>
              </a:ext>
            </a:extLst>
          </p:cNvPr>
          <p:cNvGrpSpPr/>
          <p:nvPr/>
        </p:nvGrpSpPr>
        <p:grpSpPr>
          <a:xfrm>
            <a:off x="8999572" y="2782841"/>
            <a:ext cx="2146863" cy="1417617"/>
            <a:chOff x="5893023" y="8073679"/>
            <a:chExt cx="1386502" cy="810007"/>
          </a:xfrm>
        </p:grpSpPr>
        <p:sp>
          <p:nvSpPr>
            <p:cNvPr id="103" name="Picture Placeholder">
              <a:extLst>
                <a:ext uri="{FF2B5EF4-FFF2-40B4-BE49-F238E27FC236}">
                  <a16:creationId xmlns:a16="http://schemas.microsoft.com/office/drawing/2014/main" id="{C0DAA79B-80B7-4F81-BA2B-436C70D4B172}"/>
                </a:ext>
              </a:extLst>
            </p:cNvPr>
            <p:cNvSpPr/>
            <p:nvPr/>
          </p:nvSpPr>
          <p:spPr>
            <a:xfrm>
              <a:off x="6010200" y="8073679"/>
              <a:ext cx="1151257" cy="693631"/>
            </a:xfrm>
            <a:custGeom>
              <a:avLst/>
              <a:gdLst>
                <a:gd name="connsiteX0" fmla="*/ 0 w 1151257"/>
                <a:gd name="connsiteY0" fmla="*/ 8566 h 693631"/>
                <a:gd name="connsiteX1" fmla="*/ 8566 w 1151257"/>
                <a:gd name="connsiteY1" fmla="*/ 0 h 693631"/>
                <a:gd name="connsiteX2" fmla="*/ 575629 w 1151257"/>
                <a:gd name="connsiteY2" fmla="*/ 0 h 693631"/>
                <a:gd name="connsiteX3" fmla="*/ 1142691 w 1151257"/>
                <a:gd name="connsiteY3" fmla="*/ 0 h 693631"/>
                <a:gd name="connsiteX4" fmla="*/ 1151257 w 1151257"/>
                <a:gd name="connsiteY4" fmla="*/ 8566 h 693631"/>
                <a:gd name="connsiteX5" fmla="*/ 1151257 w 1151257"/>
                <a:gd name="connsiteY5" fmla="*/ 685065 h 693631"/>
                <a:gd name="connsiteX6" fmla="*/ 1142691 w 1151257"/>
                <a:gd name="connsiteY6" fmla="*/ 693631 h 693631"/>
                <a:gd name="connsiteX7" fmla="*/ 575629 w 1151257"/>
                <a:gd name="connsiteY7" fmla="*/ 693631 h 693631"/>
                <a:gd name="connsiteX8" fmla="*/ 8566 w 1151257"/>
                <a:gd name="connsiteY8" fmla="*/ 693631 h 693631"/>
                <a:gd name="connsiteX9" fmla="*/ 0 w 1151257"/>
                <a:gd name="connsiteY9" fmla="*/ 685065 h 693631"/>
                <a:gd name="connsiteX10" fmla="*/ 0 w 1151257"/>
                <a:gd name="connsiteY10" fmla="*/ 8566 h 69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1257" h="693631" fill="none" extrusionOk="0">
                  <a:moveTo>
                    <a:pt x="0" y="8566"/>
                  </a:moveTo>
                  <a:cubicBezTo>
                    <a:pt x="-36" y="4887"/>
                    <a:pt x="3623" y="-659"/>
                    <a:pt x="8566" y="0"/>
                  </a:cubicBezTo>
                  <a:cubicBezTo>
                    <a:pt x="186046" y="-16943"/>
                    <a:pt x="368094" y="-5391"/>
                    <a:pt x="575629" y="0"/>
                  </a:cubicBezTo>
                  <a:cubicBezTo>
                    <a:pt x="783164" y="5391"/>
                    <a:pt x="920423" y="2511"/>
                    <a:pt x="1142691" y="0"/>
                  </a:cubicBezTo>
                  <a:cubicBezTo>
                    <a:pt x="1147220" y="-581"/>
                    <a:pt x="1150710" y="3366"/>
                    <a:pt x="1151257" y="8566"/>
                  </a:cubicBezTo>
                  <a:cubicBezTo>
                    <a:pt x="1128845" y="259583"/>
                    <a:pt x="1157500" y="370812"/>
                    <a:pt x="1151257" y="685065"/>
                  </a:cubicBezTo>
                  <a:cubicBezTo>
                    <a:pt x="1150784" y="689983"/>
                    <a:pt x="1147634" y="693706"/>
                    <a:pt x="1142691" y="693631"/>
                  </a:cubicBezTo>
                  <a:cubicBezTo>
                    <a:pt x="994800" y="688769"/>
                    <a:pt x="782448" y="688515"/>
                    <a:pt x="575629" y="693631"/>
                  </a:cubicBezTo>
                  <a:cubicBezTo>
                    <a:pt x="368810" y="698747"/>
                    <a:pt x="140179" y="711413"/>
                    <a:pt x="8566" y="693631"/>
                  </a:cubicBezTo>
                  <a:cubicBezTo>
                    <a:pt x="4027" y="693603"/>
                    <a:pt x="-774" y="690568"/>
                    <a:pt x="0" y="685065"/>
                  </a:cubicBezTo>
                  <a:cubicBezTo>
                    <a:pt x="11694" y="525555"/>
                    <a:pt x="-23241" y="296769"/>
                    <a:pt x="0" y="8566"/>
                  </a:cubicBezTo>
                  <a:close/>
                </a:path>
                <a:path w="1151257" h="693631" stroke="0" extrusionOk="0">
                  <a:moveTo>
                    <a:pt x="0" y="8566"/>
                  </a:moveTo>
                  <a:cubicBezTo>
                    <a:pt x="-26" y="3447"/>
                    <a:pt x="4165" y="-1006"/>
                    <a:pt x="8566" y="0"/>
                  </a:cubicBezTo>
                  <a:cubicBezTo>
                    <a:pt x="276857" y="-6123"/>
                    <a:pt x="415430" y="-11985"/>
                    <a:pt x="552946" y="0"/>
                  </a:cubicBezTo>
                  <a:cubicBezTo>
                    <a:pt x="690462" y="11985"/>
                    <a:pt x="992726" y="-15838"/>
                    <a:pt x="1142691" y="0"/>
                  </a:cubicBezTo>
                  <a:cubicBezTo>
                    <a:pt x="1147713" y="534"/>
                    <a:pt x="1151253" y="4473"/>
                    <a:pt x="1151257" y="8566"/>
                  </a:cubicBezTo>
                  <a:cubicBezTo>
                    <a:pt x="1124035" y="234463"/>
                    <a:pt x="1184467" y="504806"/>
                    <a:pt x="1151257" y="685065"/>
                  </a:cubicBezTo>
                  <a:cubicBezTo>
                    <a:pt x="1150985" y="689330"/>
                    <a:pt x="1147549" y="693497"/>
                    <a:pt x="1142691" y="693631"/>
                  </a:cubicBezTo>
                  <a:cubicBezTo>
                    <a:pt x="880247" y="694259"/>
                    <a:pt x="868694" y="705211"/>
                    <a:pt x="598311" y="693631"/>
                  </a:cubicBezTo>
                  <a:cubicBezTo>
                    <a:pt x="327928" y="682051"/>
                    <a:pt x="141152" y="705037"/>
                    <a:pt x="8566" y="693631"/>
                  </a:cubicBezTo>
                  <a:cubicBezTo>
                    <a:pt x="4556" y="693793"/>
                    <a:pt x="-472" y="690200"/>
                    <a:pt x="0" y="685065"/>
                  </a:cubicBezTo>
                  <a:cubicBezTo>
                    <a:pt x="20394" y="420098"/>
                    <a:pt x="-31892" y="319217"/>
                    <a:pt x="0" y="85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4" name="Picture Placeholder Graphic">
              <a:extLst>
                <a:ext uri="{FF2B5EF4-FFF2-40B4-BE49-F238E27FC236}">
                  <a16:creationId xmlns:a16="http://schemas.microsoft.com/office/drawing/2014/main" id="{A5073CDC-585C-42CC-9E8A-3AC8C4ECE7A9}"/>
                </a:ext>
              </a:extLst>
            </p:cNvPr>
            <p:cNvGrpSpPr/>
            <p:nvPr/>
          </p:nvGrpSpPr>
          <p:grpSpPr>
            <a:xfrm>
              <a:off x="6274343" y="8262776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17" name="Triangle 2">
                <a:extLst>
                  <a:ext uri="{FF2B5EF4-FFF2-40B4-BE49-F238E27FC236}">
                    <a16:creationId xmlns:a16="http://schemas.microsoft.com/office/drawing/2014/main" id="{C3ACDBAD-1F28-4A5C-A79B-EEF262066E56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Triangle 1">
                <a:extLst>
                  <a:ext uri="{FF2B5EF4-FFF2-40B4-BE49-F238E27FC236}">
                    <a16:creationId xmlns:a16="http://schemas.microsoft.com/office/drawing/2014/main" id="{28B83C8E-CE52-495A-A880-28612F7E8F00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Circle">
                <a:extLst>
                  <a:ext uri="{FF2B5EF4-FFF2-40B4-BE49-F238E27FC236}">
                    <a16:creationId xmlns:a16="http://schemas.microsoft.com/office/drawing/2014/main" id="{AD991CB3-C990-4578-BDA7-30431D87892E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5" name="Right Arrow">
              <a:extLst>
                <a:ext uri="{FF2B5EF4-FFF2-40B4-BE49-F238E27FC236}">
                  <a16:creationId xmlns:a16="http://schemas.microsoft.com/office/drawing/2014/main" id="{AAEFB9AF-B263-4DE3-B2EF-5AEDDC181FB7}"/>
                </a:ext>
              </a:extLst>
            </p:cNvPr>
            <p:cNvGrpSpPr/>
            <p:nvPr/>
          </p:nvGrpSpPr>
          <p:grpSpPr>
            <a:xfrm rot="13229624">
              <a:off x="7213694" y="8390293"/>
              <a:ext cx="65831" cy="65841"/>
              <a:chOff x="1480962" y="3194958"/>
              <a:chExt cx="182923" cy="191607"/>
            </a:xfrm>
          </p:grpSpPr>
          <p:cxnSp>
            <p:nvCxnSpPr>
              <p:cNvPr id="115" name="Line 2">
                <a:extLst>
                  <a:ext uri="{FF2B5EF4-FFF2-40B4-BE49-F238E27FC236}">
                    <a16:creationId xmlns:a16="http://schemas.microsoft.com/office/drawing/2014/main" id="{9154E11C-474C-4632-8089-DC74980F851C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58" y="3276838"/>
                <a:ext cx="109727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Line 1">
                <a:extLst>
                  <a:ext uri="{FF2B5EF4-FFF2-40B4-BE49-F238E27FC236}">
                    <a16:creationId xmlns:a16="http://schemas.microsoft.com/office/drawing/2014/main" id="{9BC22CD9-1D7E-4775-8DFD-A499195938D6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62" y="3194958"/>
                <a:ext cx="109725" cy="109725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Left Arrow">
              <a:extLst>
                <a:ext uri="{FF2B5EF4-FFF2-40B4-BE49-F238E27FC236}">
                  <a16:creationId xmlns:a16="http://schemas.microsoft.com/office/drawing/2014/main" id="{9F6B80CD-2936-43DA-B9E9-C75418B94299}"/>
                </a:ext>
              </a:extLst>
            </p:cNvPr>
            <p:cNvGrpSpPr/>
            <p:nvPr/>
          </p:nvGrpSpPr>
          <p:grpSpPr>
            <a:xfrm rot="8370376" flipH="1">
              <a:off x="5893023" y="8388223"/>
              <a:ext cx="65831" cy="65837"/>
              <a:chOff x="1480955" y="3194964"/>
              <a:chExt cx="182924" cy="191600"/>
            </a:xfrm>
          </p:grpSpPr>
          <p:cxnSp>
            <p:nvCxnSpPr>
              <p:cNvPr id="113" name="Line 2">
                <a:extLst>
                  <a:ext uri="{FF2B5EF4-FFF2-40B4-BE49-F238E27FC236}">
                    <a16:creationId xmlns:a16="http://schemas.microsoft.com/office/drawing/2014/main" id="{0D985FB4-EA43-4385-96A9-FFEDFF02ACE4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Line 1">
                <a:extLst>
                  <a:ext uri="{FF2B5EF4-FFF2-40B4-BE49-F238E27FC236}">
                    <a16:creationId xmlns:a16="http://schemas.microsoft.com/office/drawing/2014/main" id="{B93534A8-3135-4C9E-8411-B22E29380AA8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Slideshow Options">
              <a:extLst>
                <a:ext uri="{FF2B5EF4-FFF2-40B4-BE49-F238E27FC236}">
                  <a16:creationId xmlns:a16="http://schemas.microsoft.com/office/drawing/2014/main" id="{906C1CAD-9C0B-44F3-994B-4EC1F6F62110}"/>
                </a:ext>
              </a:extLst>
            </p:cNvPr>
            <p:cNvGrpSpPr/>
            <p:nvPr/>
          </p:nvGrpSpPr>
          <p:grpSpPr>
            <a:xfrm>
              <a:off x="6432814" y="8841399"/>
              <a:ext cx="315468" cy="42287"/>
              <a:chOff x="4681370" y="10451274"/>
              <a:chExt cx="350636" cy="47002"/>
            </a:xfrm>
          </p:grpSpPr>
          <p:sp>
            <p:nvSpPr>
              <p:cNvPr id="108" name="Circle">
                <a:extLst>
                  <a:ext uri="{FF2B5EF4-FFF2-40B4-BE49-F238E27FC236}">
                    <a16:creationId xmlns:a16="http://schemas.microsoft.com/office/drawing/2014/main" id="{74CF579F-0BB3-4B55-B77A-D136713BE5AE}"/>
                  </a:ext>
                </a:extLst>
              </p:cNvPr>
              <p:cNvSpPr/>
              <p:nvPr/>
            </p:nvSpPr>
            <p:spPr>
              <a:xfrm>
                <a:off x="4985226" y="1045146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extrusionOk="0">
                    <a:moveTo>
                      <a:pt x="0" y="23390"/>
                    </a:moveTo>
                    <a:cubicBezTo>
                      <a:pt x="-886" y="9925"/>
                      <a:pt x="9464" y="378"/>
                      <a:pt x="23390" y="0"/>
                    </a:cubicBezTo>
                    <a:cubicBezTo>
                      <a:pt x="38435" y="448"/>
                      <a:pt x="44510" y="10544"/>
                      <a:pt x="46780" y="23390"/>
                    </a:cubicBezTo>
                    <a:cubicBezTo>
                      <a:pt x="45034" y="38013"/>
                      <a:pt x="35944" y="48794"/>
                      <a:pt x="23390" y="46780"/>
                    </a:cubicBezTo>
                    <a:cubicBezTo>
                      <a:pt x="8622" y="45768"/>
                      <a:pt x="1338" y="36947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Circle">
                <a:extLst>
                  <a:ext uri="{FF2B5EF4-FFF2-40B4-BE49-F238E27FC236}">
                    <a16:creationId xmlns:a16="http://schemas.microsoft.com/office/drawing/2014/main" id="{2889B6F6-D27C-4D54-AB0B-F083240299CA}"/>
                  </a:ext>
                </a:extLst>
              </p:cNvPr>
              <p:cNvSpPr/>
              <p:nvPr/>
            </p:nvSpPr>
            <p:spPr>
              <a:xfrm>
                <a:off x="4909855" y="10451274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-348" y="10488"/>
                      <a:pt x="11055" y="573"/>
                      <a:pt x="23390" y="0"/>
                    </a:cubicBezTo>
                    <a:cubicBezTo>
                      <a:pt x="37219" y="1869"/>
                      <a:pt x="46829" y="11973"/>
                      <a:pt x="46780" y="23391"/>
                    </a:cubicBezTo>
                    <a:cubicBezTo>
                      <a:pt x="46347" y="35656"/>
                      <a:pt x="36751" y="47318"/>
                      <a:pt x="23390" y="46782"/>
                    </a:cubicBezTo>
                    <a:cubicBezTo>
                      <a:pt x="10804" y="45549"/>
                      <a:pt x="752" y="37710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Circle">
                <a:extLst>
                  <a:ext uri="{FF2B5EF4-FFF2-40B4-BE49-F238E27FC236}">
                    <a16:creationId xmlns:a16="http://schemas.microsoft.com/office/drawing/2014/main" id="{CC9A2DB8-DD28-4077-B8A7-02DF2E6DC2E6}"/>
                  </a:ext>
                </a:extLst>
              </p:cNvPr>
              <p:cNvSpPr/>
              <p:nvPr/>
            </p:nvSpPr>
            <p:spPr>
              <a:xfrm>
                <a:off x="4834488" y="10451342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114" y="9613"/>
                      <a:pt x="12313" y="1483"/>
                      <a:pt x="23390" y="0"/>
                    </a:cubicBezTo>
                    <a:cubicBezTo>
                      <a:pt x="35322" y="-373"/>
                      <a:pt x="47235" y="8876"/>
                      <a:pt x="46780" y="23391"/>
                    </a:cubicBezTo>
                    <a:cubicBezTo>
                      <a:pt x="47961" y="35529"/>
                      <a:pt x="35600" y="48586"/>
                      <a:pt x="23390" y="46782"/>
                    </a:cubicBezTo>
                    <a:cubicBezTo>
                      <a:pt x="10409" y="46987"/>
                      <a:pt x="835" y="35575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26649898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Circle">
                <a:extLst>
                  <a:ext uri="{FF2B5EF4-FFF2-40B4-BE49-F238E27FC236}">
                    <a16:creationId xmlns:a16="http://schemas.microsoft.com/office/drawing/2014/main" id="{A7158A2B-42C0-41EA-8595-91241DBC4ED8}"/>
                  </a:ext>
                </a:extLst>
              </p:cNvPr>
              <p:cNvSpPr/>
              <p:nvPr/>
            </p:nvSpPr>
            <p:spPr>
              <a:xfrm>
                <a:off x="475912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extrusionOk="0">
                    <a:moveTo>
                      <a:pt x="0" y="23390"/>
                    </a:moveTo>
                    <a:cubicBezTo>
                      <a:pt x="-1212" y="9047"/>
                      <a:pt x="11175" y="-255"/>
                      <a:pt x="23390" y="0"/>
                    </a:cubicBezTo>
                    <a:cubicBezTo>
                      <a:pt x="34841" y="824"/>
                      <a:pt x="48750" y="9884"/>
                      <a:pt x="46780" y="23390"/>
                    </a:cubicBezTo>
                    <a:cubicBezTo>
                      <a:pt x="46279" y="35310"/>
                      <a:pt x="35908" y="48026"/>
                      <a:pt x="23390" y="46780"/>
                    </a:cubicBezTo>
                    <a:cubicBezTo>
                      <a:pt x="11139" y="45861"/>
                      <a:pt x="947" y="36230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87924873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Filled Circle">
                <a:extLst>
                  <a:ext uri="{FF2B5EF4-FFF2-40B4-BE49-F238E27FC236}">
                    <a16:creationId xmlns:a16="http://schemas.microsoft.com/office/drawing/2014/main" id="{470A63C5-2D07-4EBC-966C-373384161059}"/>
                  </a:ext>
                </a:extLst>
              </p:cNvPr>
              <p:cNvSpPr/>
              <p:nvPr/>
            </p:nvSpPr>
            <p:spPr>
              <a:xfrm>
                <a:off x="468137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fill="none" extrusionOk="0">
                    <a:moveTo>
                      <a:pt x="0" y="23390"/>
                    </a:moveTo>
                    <a:cubicBezTo>
                      <a:pt x="8" y="8503"/>
                      <a:pt x="8523" y="-671"/>
                      <a:pt x="23390" y="0"/>
                    </a:cubicBezTo>
                    <a:cubicBezTo>
                      <a:pt x="37598" y="1296"/>
                      <a:pt x="45591" y="8960"/>
                      <a:pt x="46780" y="23390"/>
                    </a:cubicBezTo>
                    <a:cubicBezTo>
                      <a:pt x="47615" y="34113"/>
                      <a:pt x="37153" y="47007"/>
                      <a:pt x="23390" y="46780"/>
                    </a:cubicBezTo>
                    <a:cubicBezTo>
                      <a:pt x="10194" y="45197"/>
                      <a:pt x="-637" y="35071"/>
                      <a:pt x="0" y="23390"/>
                    </a:cubicBezTo>
                    <a:close/>
                  </a:path>
                  <a:path w="46780" h="46779" stroke="0" extrusionOk="0">
                    <a:moveTo>
                      <a:pt x="0" y="23390"/>
                    </a:moveTo>
                    <a:cubicBezTo>
                      <a:pt x="-230" y="9828"/>
                      <a:pt x="10446" y="-318"/>
                      <a:pt x="23390" y="0"/>
                    </a:cubicBezTo>
                    <a:cubicBezTo>
                      <a:pt x="35368" y="-228"/>
                      <a:pt x="45148" y="10779"/>
                      <a:pt x="46780" y="23390"/>
                    </a:cubicBezTo>
                    <a:cubicBezTo>
                      <a:pt x="47835" y="38540"/>
                      <a:pt x="38194" y="45997"/>
                      <a:pt x="23390" y="46780"/>
                    </a:cubicBezTo>
                    <a:cubicBezTo>
                      <a:pt x="13007" y="46900"/>
                      <a:pt x="99" y="37444"/>
                      <a:pt x="0" y="2339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4327539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0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C3B7DA24-49A7-4704-868A-6AF5E6E7BB5F}"/>
              </a:ext>
            </a:extLst>
          </p:cNvPr>
          <p:cNvGrpSpPr/>
          <p:nvPr/>
        </p:nvGrpSpPr>
        <p:grpSpPr>
          <a:xfrm>
            <a:off x="9169543" y="4362371"/>
            <a:ext cx="1950118" cy="1177785"/>
            <a:chOff x="-5326399" y="1380314"/>
            <a:chExt cx="1228382" cy="622836"/>
          </a:xfrm>
        </p:grpSpPr>
        <p:sp>
          <p:nvSpPr>
            <p:cNvPr id="121" name="Rectangle 5">
              <a:extLst>
                <a:ext uri="{FF2B5EF4-FFF2-40B4-BE49-F238E27FC236}">
                  <a16:creationId xmlns:a16="http://schemas.microsoft.com/office/drawing/2014/main" id="{9790E2E4-5999-450D-B91F-4D1E4E1DCDC2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228381"/>
                <a:gd name="connsiteY0" fmla="*/ 0 h 64008"/>
                <a:gd name="connsiteX1" fmla="*/ 614191 w 1228381"/>
                <a:gd name="connsiteY1" fmla="*/ 0 h 64008"/>
                <a:gd name="connsiteX2" fmla="*/ 1228381 w 1228381"/>
                <a:gd name="connsiteY2" fmla="*/ 0 h 64008"/>
                <a:gd name="connsiteX3" fmla="*/ 1228381 w 1228381"/>
                <a:gd name="connsiteY3" fmla="*/ 64008 h 64008"/>
                <a:gd name="connsiteX4" fmla="*/ 589623 w 1228381"/>
                <a:gd name="connsiteY4" fmla="*/ 64008 h 64008"/>
                <a:gd name="connsiteX5" fmla="*/ 0 w 1228381"/>
                <a:gd name="connsiteY5" fmla="*/ 64008 h 64008"/>
                <a:gd name="connsiteX6" fmla="*/ 0 w 1228381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8381" h="64008" fill="none" extrusionOk="0">
                  <a:moveTo>
                    <a:pt x="0" y="0"/>
                  </a:moveTo>
                  <a:cubicBezTo>
                    <a:pt x="165142" y="-26428"/>
                    <a:pt x="313313" y="-27854"/>
                    <a:pt x="614191" y="0"/>
                  </a:cubicBezTo>
                  <a:cubicBezTo>
                    <a:pt x="915069" y="27854"/>
                    <a:pt x="997070" y="-23687"/>
                    <a:pt x="1228381" y="0"/>
                  </a:cubicBezTo>
                  <a:cubicBezTo>
                    <a:pt x="1231048" y="27787"/>
                    <a:pt x="1228947" y="42632"/>
                    <a:pt x="1228381" y="64008"/>
                  </a:cubicBezTo>
                  <a:cubicBezTo>
                    <a:pt x="922052" y="77269"/>
                    <a:pt x="869818" y="72455"/>
                    <a:pt x="589623" y="64008"/>
                  </a:cubicBezTo>
                  <a:cubicBezTo>
                    <a:pt x="309428" y="55561"/>
                    <a:pt x="127275" y="82096"/>
                    <a:pt x="0" y="64008"/>
                  </a:cubicBezTo>
                  <a:cubicBezTo>
                    <a:pt x="279" y="44606"/>
                    <a:pt x="-934" y="25820"/>
                    <a:pt x="0" y="0"/>
                  </a:cubicBezTo>
                  <a:close/>
                </a:path>
                <a:path w="1228381" h="64008" stroke="0" extrusionOk="0">
                  <a:moveTo>
                    <a:pt x="0" y="0"/>
                  </a:moveTo>
                  <a:cubicBezTo>
                    <a:pt x="167411" y="-22089"/>
                    <a:pt x="426488" y="1143"/>
                    <a:pt x="626474" y="0"/>
                  </a:cubicBezTo>
                  <a:cubicBezTo>
                    <a:pt x="826460" y="-1143"/>
                    <a:pt x="959873" y="19830"/>
                    <a:pt x="1228381" y="0"/>
                  </a:cubicBezTo>
                  <a:cubicBezTo>
                    <a:pt x="1225713" y="24987"/>
                    <a:pt x="1227770" y="51127"/>
                    <a:pt x="1228381" y="64008"/>
                  </a:cubicBezTo>
                  <a:cubicBezTo>
                    <a:pt x="964899" y="41709"/>
                    <a:pt x="898730" y="60030"/>
                    <a:pt x="589623" y="64008"/>
                  </a:cubicBezTo>
                  <a:cubicBezTo>
                    <a:pt x="280516" y="67986"/>
                    <a:pt x="166407" y="35384"/>
                    <a:pt x="0" y="64008"/>
                  </a:cubicBezTo>
                  <a:cubicBezTo>
                    <a:pt x="-1646" y="44721"/>
                    <a:pt x="1257" y="167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tangle 4">
              <a:extLst>
                <a:ext uri="{FF2B5EF4-FFF2-40B4-BE49-F238E27FC236}">
                  <a16:creationId xmlns:a16="http://schemas.microsoft.com/office/drawing/2014/main" id="{B408567B-BBD1-4996-8F27-C3383EBDD791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156123"/>
                <a:gd name="connsiteY0" fmla="*/ 0 h 64008"/>
                <a:gd name="connsiteX1" fmla="*/ 601184 w 1156123"/>
                <a:gd name="connsiteY1" fmla="*/ 0 h 64008"/>
                <a:gd name="connsiteX2" fmla="*/ 1156123 w 1156123"/>
                <a:gd name="connsiteY2" fmla="*/ 0 h 64008"/>
                <a:gd name="connsiteX3" fmla="*/ 1156123 w 1156123"/>
                <a:gd name="connsiteY3" fmla="*/ 64008 h 64008"/>
                <a:gd name="connsiteX4" fmla="*/ 566500 w 1156123"/>
                <a:gd name="connsiteY4" fmla="*/ 64008 h 64008"/>
                <a:gd name="connsiteX5" fmla="*/ 0 w 1156123"/>
                <a:gd name="connsiteY5" fmla="*/ 64008 h 64008"/>
                <a:gd name="connsiteX6" fmla="*/ 0 w 1156123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123" h="64008" fill="none" extrusionOk="0">
                  <a:moveTo>
                    <a:pt x="0" y="0"/>
                  </a:moveTo>
                  <a:cubicBezTo>
                    <a:pt x="138334" y="-18225"/>
                    <a:pt x="313638" y="20190"/>
                    <a:pt x="601184" y="0"/>
                  </a:cubicBezTo>
                  <a:cubicBezTo>
                    <a:pt x="888730" y="-20190"/>
                    <a:pt x="1032926" y="14422"/>
                    <a:pt x="1156123" y="0"/>
                  </a:cubicBezTo>
                  <a:cubicBezTo>
                    <a:pt x="1157324" y="16741"/>
                    <a:pt x="1153679" y="41845"/>
                    <a:pt x="1156123" y="64008"/>
                  </a:cubicBezTo>
                  <a:cubicBezTo>
                    <a:pt x="916827" y="39633"/>
                    <a:pt x="766170" y="43302"/>
                    <a:pt x="566500" y="64008"/>
                  </a:cubicBezTo>
                  <a:cubicBezTo>
                    <a:pt x="366830" y="84714"/>
                    <a:pt x="154499" y="76833"/>
                    <a:pt x="0" y="64008"/>
                  </a:cubicBezTo>
                  <a:cubicBezTo>
                    <a:pt x="1422" y="39840"/>
                    <a:pt x="2711" y="23338"/>
                    <a:pt x="0" y="0"/>
                  </a:cubicBezTo>
                  <a:close/>
                </a:path>
                <a:path w="1156123" h="64008" stroke="0" extrusionOk="0">
                  <a:moveTo>
                    <a:pt x="0" y="0"/>
                  </a:moveTo>
                  <a:cubicBezTo>
                    <a:pt x="166219" y="-22033"/>
                    <a:pt x="353438" y="27318"/>
                    <a:pt x="554939" y="0"/>
                  </a:cubicBezTo>
                  <a:cubicBezTo>
                    <a:pt x="756440" y="-27318"/>
                    <a:pt x="952613" y="-20057"/>
                    <a:pt x="1156123" y="0"/>
                  </a:cubicBezTo>
                  <a:cubicBezTo>
                    <a:pt x="1155374" y="20271"/>
                    <a:pt x="1158168" y="49605"/>
                    <a:pt x="1156123" y="64008"/>
                  </a:cubicBezTo>
                  <a:cubicBezTo>
                    <a:pt x="901980" y="83371"/>
                    <a:pt x="716074" y="68995"/>
                    <a:pt x="566500" y="64008"/>
                  </a:cubicBezTo>
                  <a:cubicBezTo>
                    <a:pt x="416926" y="59021"/>
                    <a:pt x="195891" y="79443"/>
                    <a:pt x="0" y="64008"/>
                  </a:cubicBezTo>
                  <a:cubicBezTo>
                    <a:pt x="2854" y="41256"/>
                    <a:pt x="2167" y="1843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tangle 3">
              <a:extLst>
                <a:ext uri="{FF2B5EF4-FFF2-40B4-BE49-F238E27FC236}">
                  <a16:creationId xmlns:a16="http://schemas.microsoft.com/office/drawing/2014/main" id="{B1CBBF95-C34B-4697-81A9-4606C7360E27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932688"/>
                <a:gd name="connsiteY0" fmla="*/ 0 h 64008"/>
                <a:gd name="connsiteX1" fmla="*/ 475671 w 932688"/>
                <a:gd name="connsiteY1" fmla="*/ 0 h 64008"/>
                <a:gd name="connsiteX2" fmla="*/ 932688 w 932688"/>
                <a:gd name="connsiteY2" fmla="*/ 0 h 64008"/>
                <a:gd name="connsiteX3" fmla="*/ 932688 w 932688"/>
                <a:gd name="connsiteY3" fmla="*/ 64008 h 64008"/>
                <a:gd name="connsiteX4" fmla="*/ 447690 w 932688"/>
                <a:gd name="connsiteY4" fmla="*/ 64008 h 64008"/>
                <a:gd name="connsiteX5" fmla="*/ 0 w 932688"/>
                <a:gd name="connsiteY5" fmla="*/ 64008 h 64008"/>
                <a:gd name="connsiteX6" fmla="*/ 0 w 93268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2688" h="64008" fill="none" extrusionOk="0">
                  <a:moveTo>
                    <a:pt x="0" y="0"/>
                  </a:moveTo>
                  <a:cubicBezTo>
                    <a:pt x="109317" y="3578"/>
                    <a:pt x="347583" y="22913"/>
                    <a:pt x="475671" y="0"/>
                  </a:cubicBezTo>
                  <a:cubicBezTo>
                    <a:pt x="603759" y="-22913"/>
                    <a:pt x="760272" y="8236"/>
                    <a:pt x="932688" y="0"/>
                  </a:cubicBezTo>
                  <a:cubicBezTo>
                    <a:pt x="932471" y="28692"/>
                    <a:pt x="934511" y="49533"/>
                    <a:pt x="932688" y="64008"/>
                  </a:cubicBezTo>
                  <a:cubicBezTo>
                    <a:pt x="735398" y="61622"/>
                    <a:pt x="633287" y="49920"/>
                    <a:pt x="447690" y="64008"/>
                  </a:cubicBezTo>
                  <a:cubicBezTo>
                    <a:pt x="262093" y="78096"/>
                    <a:pt x="98017" y="51756"/>
                    <a:pt x="0" y="64008"/>
                  </a:cubicBezTo>
                  <a:cubicBezTo>
                    <a:pt x="-1284" y="37907"/>
                    <a:pt x="510" y="23488"/>
                    <a:pt x="0" y="0"/>
                  </a:cubicBezTo>
                  <a:close/>
                </a:path>
                <a:path w="932688" h="64008" stroke="0" extrusionOk="0">
                  <a:moveTo>
                    <a:pt x="0" y="0"/>
                  </a:moveTo>
                  <a:cubicBezTo>
                    <a:pt x="200156" y="19546"/>
                    <a:pt x="294544" y="-7345"/>
                    <a:pt x="447690" y="0"/>
                  </a:cubicBezTo>
                  <a:cubicBezTo>
                    <a:pt x="600836" y="7345"/>
                    <a:pt x="738317" y="18659"/>
                    <a:pt x="932688" y="0"/>
                  </a:cubicBezTo>
                  <a:cubicBezTo>
                    <a:pt x="930798" y="18002"/>
                    <a:pt x="934551" y="37102"/>
                    <a:pt x="932688" y="64008"/>
                  </a:cubicBezTo>
                  <a:cubicBezTo>
                    <a:pt x="742216" y="82812"/>
                    <a:pt x="616855" y="63230"/>
                    <a:pt x="457017" y="64008"/>
                  </a:cubicBezTo>
                  <a:cubicBezTo>
                    <a:pt x="297179" y="64786"/>
                    <a:pt x="180098" y="47449"/>
                    <a:pt x="0" y="64008"/>
                  </a:cubicBezTo>
                  <a:cubicBezTo>
                    <a:pt x="-80" y="37080"/>
                    <a:pt x="3083" y="147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tangle 2">
              <a:extLst>
                <a:ext uri="{FF2B5EF4-FFF2-40B4-BE49-F238E27FC236}">
                  <a16:creationId xmlns:a16="http://schemas.microsoft.com/office/drawing/2014/main" id="{B88F1D1D-7883-4F78-8ED4-2EEF409CB5B8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011608"/>
                <a:gd name="connsiteY0" fmla="*/ 0 h 64008"/>
                <a:gd name="connsiteX1" fmla="*/ 475456 w 1011608"/>
                <a:gd name="connsiteY1" fmla="*/ 0 h 64008"/>
                <a:gd name="connsiteX2" fmla="*/ 1011608 w 1011608"/>
                <a:gd name="connsiteY2" fmla="*/ 0 h 64008"/>
                <a:gd name="connsiteX3" fmla="*/ 1011608 w 1011608"/>
                <a:gd name="connsiteY3" fmla="*/ 64008 h 64008"/>
                <a:gd name="connsiteX4" fmla="*/ 495688 w 1011608"/>
                <a:gd name="connsiteY4" fmla="*/ 64008 h 64008"/>
                <a:gd name="connsiteX5" fmla="*/ 0 w 1011608"/>
                <a:gd name="connsiteY5" fmla="*/ 64008 h 64008"/>
                <a:gd name="connsiteX6" fmla="*/ 0 w 101160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1608" h="64008" fill="none" extrusionOk="0">
                  <a:moveTo>
                    <a:pt x="0" y="0"/>
                  </a:moveTo>
                  <a:cubicBezTo>
                    <a:pt x="197554" y="-21691"/>
                    <a:pt x="380014" y="-11599"/>
                    <a:pt x="475456" y="0"/>
                  </a:cubicBezTo>
                  <a:cubicBezTo>
                    <a:pt x="570898" y="11599"/>
                    <a:pt x="782937" y="-5214"/>
                    <a:pt x="1011608" y="0"/>
                  </a:cubicBezTo>
                  <a:cubicBezTo>
                    <a:pt x="1011841" y="15641"/>
                    <a:pt x="1009721" y="34909"/>
                    <a:pt x="1011608" y="64008"/>
                  </a:cubicBezTo>
                  <a:cubicBezTo>
                    <a:pt x="779116" y="85202"/>
                    <a:pt x="615303" y="78058"/>
                    <a:pt x="495688" y="64008"/>
                  </a:cubicBezTo>
                  <a:cubicBezTo>
                    <a:pt x="376073" y="49958"/>
                    <a:pt x="140136" y="47640"/>
                    <a:pt x="0" y="64008"/>
                  </a:cubicBezTo>
                  <a:cubicBezTo>
                    <a:pt x="3173" y="46995"/>
                    <a:pt x="-2625" y="25867"/>
                    <a:pt x="0" y="0"/>
                  </a:cubicBezTo>
                  <a:close/>
                </a:path>
                <a:path w="1011608" h="64008" stroke="0" extrusionOk="0">
                  <a:moveTo>
                    <a:pt x="0" y="0"/>
                  </a:moveTo>
                  <a:cubicBezTo>
                    <a:pt x="187624" y="-17970"/>
                    <a:pt x="388346" y="13916"/>
                    <a:pt x="485572" y="0"/>
                  </a:cubicBezTo>
                  <a:cubicBezTo>
                    <a:pt x="582798" y="-13916"/>
                    <a:pt x="756689" y="9945"/>
                    <a:pt x="1011608" y="0"/>
                  </a:cubicBezTo>
                  <a:cubicBezTo>
                    <a:pt x="1009361" y="30074"/>
                    <a:pt x="1012688" y="42635"/>
                    <a:pt x="1011608" y="64008"/>
                  </a:cubicBezTo>
                  <a:cubicBezTo>
                    <a:pt x="854532" y="57458"/>
                    <a:pt x="733233" y="54927"/>
                    <a:pt x="505804" y="64008"/>
                  </a:cubicBezTo>
                  <a:cubicBezTo>
                    <a:pt x="278375" y="73089"/>
                    <a:pt x="130855" y="42822"/>
                    <a:pt x="0" y="64008"/>
                  </a:cubicBezTo>
                  <a:cubicBezTo>
                    <a:pt x="-3178" y="36820"/>
                    <a:pt x="-2722" y="28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tangle 1">
              <a:extLst>
                <a:ext uri="{FF2B5EF4-FFF2-40B4-BE49-F238E27FC236}">
                  <a16:creationId xmlns:a16="http://schemas.microsoft.com/office/drawing/2014/main" id="{BC5F6855-9E05-4D84-BE4D-2FBE7014CDD2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869092"/>
                <a:gd name="connsiteY0" fmla="*/ 0 h 64008"/>
                <a:gd name="connsiteX1" fmla="*/ 451928 w 869092"/>
                <a:gd name="connsiteY1" fmla="*/ 0 h 64008"/>
                <a:gd name="connsiteX2" fmla="*/ 869092 w 869092"/>
                <a:gd name="connsiteY2" fmla="*/ 0 h 64008"/>
                <a:gd name="connsiteX3" fmla="*/ 869092 w 869092"/>
                <a:gd name="connsiteY3" fmla="*/ 64008 h 64008"/>
                <a:gd name="connsiteX4" fmla="*/ 443237 w 869092"/>
                <a:gd name="connsiteY4" fmla="*/ 64008 h 64008"/>
                <a:gd name="connsiteX5" fmla="*/ 0 w 869092"/>
                <a:gd name="connsiteY5" fmla="*/ 64008 h 64008"/>
                <a:gd name="connsiteX6" fmla="*/ 0 w 869092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092" h="64008" fill="none" extrusionOk="0">
                  <a:moveTo>
                    <a:pt x="0" y="0"/>
                  </a:moveTo>
                  <a:cubicBezTo>
                    <a:pt x="109012" y="18379"/>
                    <a:pt x="348535" y="-18141"/>
                    <a:pt x="451928" y="0"/>
                  </a:cubicBezTo>
                  <a:cubicBezTo>
                    <a:pt x="555321" y="18141"/>
                    <a:pt x="748048" y="-6654"/>
                    <a:pt x="869092" y="0"/>
                  </a:cubicBezTo>
                  <a:cubicBezTo>
                    <a:pt x="872239" y="21123"/>
                    <a:pt x="867620" y="35558"/>
                    <a:pt x="869092" y="64008"/>
                  </a:cubicBezTo>
                  <a:cubicBezTo>
                    <a:pt x="682938" y="74288"/>
                    <a:pt x="584473" y="51890"/>
                    <a:pt x="443237" y="64008"/>
                  </a:cubicBezTo>
                  <a:cubicBezTo>
                    <a:pt x="302002" y="76126"/>
                    <a:pt x="150286" y="50849"/>
                    <a:pt x="0" y="64008"/>
                  </a:cubicBezTo>
                  <a:cubicBezTo>
                    <a:pt x="-2411" y="33843"/>
                    <a:pt x="1447" y="23221"/>
                    <a:pt x="0" y="0"/>
                  </a:cubicBezTo>
                  <a:close/>
                </a:path>
                <a:path w="869092" h="64008" stroke="0" extrusionOk="0">
                  <a:moveTo>
                    <a:pt x="0" y="0"/>
                  </a:moveTo>
                  <a:cubicBezTo>
                    <a:pt x="154071" y="-18764"/>
                    <a:pt x="254687" y="20448"/>
                    <a:pt x="425855" y="0"/>
                  </a:cubicBezTo>
                  <a:cubicBezTo>
                    <a:pt x="597023" y="-20448"/>
                    <a:pt x="739597" y="3820"/>
                    <a:pt x="869092" y="0"/>
                  </a:cubicBezTo>
                  <a:cubicBezTo>
                    <a:pt x="870588" y="25188"/>
                    <a:pt x="869529" y="50929"/>
                    <a:pt x="869092" y="64008"/>
                  </a:cubicBezTo>
                  <a:cubicBezTo>
                    <a:pt x="728868" y="65134"/>
                    <a:pt x="620845" y="85554"/>
                    <a:pt x="434546" y="64008"/>
                  </a:cubicBezTo>
                  <a:cubicBezTo>
                    <a:pt x="248247" y="42462"/>
                    <a:pt x="134031" y="80743"/>
                    <a:pt x="0" y="64008"/>
                  </a:cubicBezTo>
                  <a:cubicBezTo>
                    <a:pt x="-2503" y="44586"/>
                    <a:pt x="3172" y="2066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6" name="Placeholder Text 1">
            <a:extLst>
              <a:ext uri="{FF2B5EF4-FFF2-40B4-BE49-F238E27FC236}">
                <a16:creationId xmlns:a16="http://schemas.microsoft.com/office/drawing/2014/main" id="{6D886072-5B6E-4417-925E-E87A4E46E787}"/>
              </a:ext>
            </a:extLst>
          </p:cNvPr>
          <p:cNvSpPr txBox="1"/>
          <p:nvPr/>
        </p:nvSpPr>
        <p:spPr>
          <a:xfrm>
            <a:off x="3280287" y="4839864"/>
            <a:ext cx="294989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arousel through bootstrap which presents a photo of each member of the group and a quick 3 dot point summary</a:t>
            </a:r>
          </a:p>
        </p:txBody>
      </p:sp>
      <p:pic>
        <p:nvPicPr>
          <p:cNvPr id="127" name="Wifi Signal Icon" descr="Signal">
            <a:extLst>
              <a:ext uri="{FF2B5EF4-FFF2-40B4-BE49-F238E27FC236}">
                <a16:creationId xmlns:a16="http://schemas.microsoft.com/office/drawing/2014/main" id="{CD0D454B-265E-4D9D-9172-BA18CC37C84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231791" y="2057563"/>
            <a:ext cx="271471" cy="271472"/>
          </a:xfrm>
          <a:prstGeom prst="rect">
            <a:avLst/>
          </a:prstGeom>
        </p:spPr>
      </p:pic>
      <p:pic>
        <p:nvPicPr>
          <p:cNvPr id="128" name="Person Icon" descr="User">
            <a:extLst>
              <a:ext uri="{FF2B5EF4-FFF2-40B4-BE49-F238E27FC236}">
                <a16:creationId xmlns:a16="http://schemas.microsoft.com/office/drawing/2014/main" id="{DAE2D64C-0A4F-468B-8546-CE9A836E372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13876" y="2061274"/>
            <a:ext cx="271471" cy="271472"/>
          </a:xfrm>
          <a:prstGeom prst="rect">
            <a:avLst/>
          </a:prstGeom>
        </p:spPr>
      </p:pic>
      <p:pic>
        <p:nvPicPr>
          <p:cNvPr id="129" name="Home Icon" descr="Home">
            <a:extLst>
              <a:ext uri="{FF2B5EF4-FFF2-40B4-BE49-F238E27FC236}">
                <a16:creationId xmlns:a16="http://schemas.microsoft.com/office/drawing/2014/main" id="{18A99FB0-B359-4D2F-9085-2E43ABCDD60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58077" y="2048518"/>
            <a:ext cx="271471" cy="271472"/>
          </a:xfrm>
          <a:prstGeom prst="rect">
            <a:avLst/>
          </a:prstGeom>
        </p:spPr>
      </p:pic>
      <p:sp>
        <p:nvSpPr>
          <p:cNvPr id="130" name="Placeholder Text 1">
            <a:extLst>
              <a:ext uri="{FF2B5EF4-FFF2-40B4-BE49-F238E27FC236}">
                <a16:creationId xmlns:a16="http://schemas.microsoft.com/office/drawing/2014/main" id="{5F5A6D1F-AF72-4B31-A3BA-366474E5497D}"/>
              </a:ext>
            </a:extLst>
          </p:cNvPr>
          <p:cNvSpPr txBox="1"/>
          <p:nvPr/>
        </p:nvSpPr>
        <p:spPr>
          <a:xfrm>
            <a:off x="539816" y="2313519"/>
            <a:ext cx="100827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ft-to-right: Home Page, Group Details Page, Data Page</a:t>
            </a:r>
          </a:p>
        </p:txBody>
      </p:sp>
      <p:pic>
        <p:nvPicPr>
          <p:cNvPr id="131" name="Wifi Signal Icon" descr="Signal">
            <a:extLst>
              <a:ext uri="{FF2B5EF4-FFF2-40B4-BE49-F238E27FC236}">
                <a16:creationId xmlns:a16="http://schemas.microsoft.com/office/drawing/2014/main" id="{1C4EDD5A-0E33-4F0B-AD51-42AEB892EA0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277801" y="2345746"/>
            <a:ext cx="271471" cy="271472"/>
          </a:xfrm>
          <a:prstGeom prst="rect">
            <a:avLst/>
          </a:prstGeom>
        </p:spPr>
      </p:pic>
      <p:pic>
        <p:nvPicPr>
          <p:cNvPr id="132" name="Person Icon" descr="User">
            <a:extLst>
              <a:ext uri="{FF2B5EF4-FFF2-40B4-BE49-F238E27FC236}">
                <a16:creationId xmlns:a16="http://schemas.microsoft.com/office/drawing/2014/main" id="{BC7E971C-64C5-4581-839A-84FE3E0F6E2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959886" y="2349457"/>
            <a:ext cx="271471" cy="271472"/>
          </a:xfrm>
          <a:prstGeom prst="rect">
            <a:avLst/>
          </a:prstGeom>
        </p:spPr>
      </p:pic>
      <p:pic>
        <p:nvPicPr>
          <p:cNvPr id="133" name="Home Icon" descr="Home">
            <a:extLst>
              <a:ext uri="{FF2B5EF4-FFF2-40B4-BE49-F238E27FC236}">
                <a16:creationId xmlns:a16="http://schemas.microsoft.com/office/drawing/2014/main" id="{656545A4-6722-4188-BCE7-D9991FE04AE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604087" y="2336701"/>
            <a:ext cx="271471" cy="27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1930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955BCE-1795-4CD9-AA49-141BC3292A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040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955BCE-1795-4CD9-AA49-141BC3292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" name="Slide Title">
            <a:extLst>
              <a:ext uri="{FF2B5EF4-FFF2-40B4-BE49-F238E27FC236}">
                <a16:creationId xmlns:a16="http://schemas.microsoft.com/office/drawing/2014/main" id="{A146AB45-9755-44A2-B735-37D28433F9F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45907" y="502365"/>
            <a:ext cx="6885807" cy="77733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Data Source</a:t>
            </a:r>
          </a:p>
        </p:txBody>
      </p:sp>
      <p:grpSp>
        <p:nvGrpSpPr>
          <p:cNvPr id="17" name="Tablet Device Outline" descr="A mockup of website interface on a tablet.">
            <a:extLst>
              <a:ext uri="{FF2B5EF4-FFF2-40B4-BE49-F238E27FC236}">
                <a16:creationId xmlns:a16="http://schemas.microsoft.com/office/drawing/2014/main" id="{A1F0DC25-F6FE-4EFA-920C-7F66BB83FADA}"/>
              </a:ext>
            </a:extLst>
          </p:cNvPr>
          <p:cNvGrpSpPr/>
          <p:nvPr/>
        </p:nvGrpSpPr>
        <p:grpSpPr>
          <a:xfrm>
            <a:off x="248123" y="1439097"/>
            <a:ext cx="6884027" cy="4853837"/>
            <a:chOff x="2241176" y="394364"/>
            <a:chExt cx="8606117" cy="6068060"/>
          </a:xfrm>
        </p:grpSpPr>
        <p:grpSp>
          <p:nvGrpSpPr>
            <p:cNvPr id="12" name="Address Bar Header">
              <a:extLst>
                <a:ext uri="{FF2B5EF4-FFF2-40B4-BE49-F238E27FC236}">
                  <a16:creationId xmlns:a16="http://schemas.microsoft.com/office/drawing/2014/main" id="{37CF4F67-58F9-4797-8C95-9438AD34E693}"/>
                </a:ext>
              </a:extLst>
            </p:cNvPr>
            <p:cNvGrpSpPr/>
            <p:nvPr/>
          </p:nvGrpSpPr>
          <p:grpSpPr>
            <a:xfrm>
              <a:off x="2547215" y="716132"/>
              <a:ext cx="7667327" cy="332305"/>
              <a:chOff x="4952557" y="2266350"/>
              <a:chExt cx="5633142" cy="244143"/>
            </a:xfrm>
          </p:grpSpPr>
          <p:sp>
            <p:nvSpPr>
              <p:cNvPr id="517" name="Address Bar Header Full Background">
                <a:extLst>
                  <a:ext uri="{FF2B5EF4-FFF2-40B4-BE49-F238E27FC236}">
                    <a16:creationId xmlns:a16="http://schemas.microsoft.com/office/drawing/2014/main" id="{815F0436-ABE1-41F9-BF38-7F677BC89B8A}"/>
                  </a:ext>
                </a:extLst>
              </p:cNvPr>
              <p:cNvSpPr/>
              <p:nvPr/>
            </p:nvSpPr>
            <p:spPr>
              <a:xfrm>
                <a:off x="4969003" y="2266350"/>
                <a:ext cx="5592857" cy="211612"/>
              </a:xfrm>
              <a:prstGeom prst="rect">
                <a:avLst/>
              </a:prstGeom>
              <a:solidFill>
                <a:srgbClr val="CBC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18" name="See All Tabs Icon">
                <a:extLst>
                  <a:ext uri="{FF2B5EF4-FFF2-40B4-BE49-F238E27FC236}">
                    <a16:creationId xmlns:a16="http://schemas.microsoft.com/office/drawing/2014/main" id="{7D56C874-0241-4160-BDA3-F0520D25A569}"/>
                  </a:ext>
                </a:extLst>
              </p:cNvPr>
              <p:cNvGrpSpPr/>
              <p:nvPr/>
            </p:nvGrpSpPr>
            <p:grpSpPr>
              <a:xfrm>
                <a:off x="5026608" y="2276890"/>
                <a:ext cx="74136" cy="73515"/>
                <a:chOff x="4561159" y="1229706"/>
                <a:chExt cx="107805" cy="106902"/>
              </a:xfrm>
            </p:grpSpPr>
            <p:pic>
              <p:nvPicPr>
                <p:cNvPr id="555" name="Website Icon 2" descr="Browser window">
                  <a:extLst>
                    <a:ext uri="{FF2B5EF4-FFF2-40B4-BE49-F238E27FC236}">
                      <a16:creationId xmlns:a16="http://schemas.microsoft.com/office/drawing/2014/main" id="{8DF59F83-0501-43FA-B645-E929C06D97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61159" y="1229706"/>
                  <a:ext cx="91821" cy="91821"/>
                </a:xfrm>
                <a:prstGeom prst="rect">
                  <a:avLst/>
                </a:prstGeom>
              </p:spPr>
            </p:pic>
            <p:pic>
              <p:nvPicPr>
                <p:cNvPr id="556" name="Website Icon 1" descr="Browser window">
                  <a:extLst>
                    <a:ext uri="{FF2B5EF4-FFF2-40B4-BE49-F238E27FC236}">
                      <a16:creationId xmlns:a16="http://schemas.microsoft.com/office/drawing/2014/main" id="{47503B5F-13A0-40D6-B515-5E324590A1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7143" y="1244787"/>
                  <a:ext cx="91821" cy="91821"/>
                </a:xfrm>
                <a:prstGeom prst="rect">
                  <a:avLst/>
                </a:prstGeom>
              </p:spPr>
            </p:pic>
            <p:sp>
              <p:nvSpPr>
                <p:cNvPr id="557" name="Rectangle">
                  <a:extLst>
                    <a:ext uri="{FF2B5EF4-FFF2-40B4-BE49-F238E27FC236}">
                      <a16:creationId xmlns:a16="http://schemas.microsoft.com/office/drawing/2014/main" id="{D5823150-B2F7-4EF1-8DE5-C38BCDECB873}"/>
                    </a:ext>
                  </a:extLst>
                </p:cNvPr>
                <p:cNvSpPr/>
                <p:nvPr/>
              </p:nvSpPr>
              <p:spPr>
                <a:xfrm>
                  <a:off x="4589484" y="1274842"/>
                  <a:ext cx="64008" cy="36576"/>
                </a:xfrm>
                <a:prstGeom prst="rect">
                  <a:avLst/>
                </a:prstGeom>
                <a:solidFill>
                  <a:srgbClr val="CBCB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19" name="Dropdown Arrow">
                <a:extLst>
                  <a:ext uri="{FF2B5EF4-FFF2-40B4-BE49-F238E27FC236}">
                    <a16:creationId xmlns:a16="http://schemas.microsoft.com/office/drawing/2014/main" id="{6BAFFFB0-3669-464B-BA89-B02DD7F5A04C}"/>
                  </a:ext>
                </a:extLst>
              </p:cNvPr>
              <p:cNvGrpSpPr/>
              <p:nvPr/>
            </p:nvGrpSpPr>
            <p:grpSpPr>
              <a:xfrm rot="18531467">
                <a:off x="5924692" y="2300805"/>
                <a:ext cx="31986" cy="31986"/>
                <a:chOff x="1411369" y="3109610"/>
                <a:chExt cx="182868" cy="191529"/>
              </a:xfrm>
            </p:grpSpPr>
            <p:cxnSp>
              <p:nvCxnSpPr>
                <p:cNvPr id="553" name="Line 2">
                  <a:extLst>
                    <a:ext uri="{FF2B5EF4-FFF2-40B4-BE49-F238E27FC236}">
                      <a16:creationId xmlns:a16="http://schemas.microsoft.com/office/drawing/2014/main" id="{61857E4E-E51E-4009-9E85-52C0D05E83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4" name="Line 1">
                  <a:extLst>
                    <a:ext uri="{FF2B5EF4-FFF2-40B4-BE49-F238E27FC236}">
                      <a16:creationId xmlns:a16="http://schemas.microsoft.com/office/drawing/2014/main" id="{0FAB30C5-6C5F-4FFE-9A93-2882BF9751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0" name="Address Bar Header Background">
                <a:extLst>
                  <a:ext uri="{FF2B5EF4-FFF2-40B4-BE49-F238E27FC236}">
                    <a16:creationId xmlns:a16="http://schemas.microsoft.com/office/drawing/2014/main" id="{C7F3D26F-C694-43A0-BBB9-089EBC5D897F}"/>
                  </a:ext>
                </a:extLst>
              </p:cNvPr>
              <p:cNvSpPr/>
              <p:nvPr/>
            </p:nvSpPr>
            <p:spPr>
              <a:xfrm>
                <a:off x="4952557" y="2352880"/>
                <a:ext cx="5633142" cy="146768"/>
              </a:xfrm>
              <a:custGeom>
                <a:avLst/>
                <a:gdLst>
                  <a:gd name="connsiteX0" fmla="*/ 0 w 5633142"/>
                  <a:gd name="connsiteY0" fmla="*/ 0 h 146768"/>
                  <a:gd name="connsiteX1" fmla="*/ 513242 w 5633142"/>
                  <a:gd name="connsiteY1" fmla="*/ 0 h 146768"/>
                  <a:gd name="connsiteX2" fmla="*/ 1082815 w 5633142"/>
                  <a:gd name="connsiteY2" fmla="*/ 0 h 146768"/>
                  <a:gd name="connsiteX3" fmla="*/ 1596057 w 5633142"/>
                  <a:gd name="connsiteY3" fmla="*/ 0 h 146768"/>
                  <a:gd name="connsiteX4" fmla="*/ 2278293 w 5633142"/>
                  <a:gd name="connsiteY4" fmla="*/ 0 h 146768"/>
                  <a:gd name="connsiteX5" fmla="*/ 2904198 w 5633142"/>
                  <a:gd name="connsiteY5" fmla="*/ 0 h 146768"/>
                  <a:gd name="connsiteX6" fmla="*/ 3530102 w 5633142"/>
                  <a:gd name="connsiteY6" fmla="*/ 0 h 146768"/>
                  <a:gd name="connsiteX7" fmla="*/ 4268670 w 5633142"/>
                  <a:gd name="connsiteY7" fmla="*/ 0 h 146768"/>
                  <a:gd name="connsiteX8" fmla="*/ 4950906 w 5633142"/>
                  <a:gd name="connsiteY8" fmla="*/ 0 h 146768"/>
                  <a:gd name="connsiteX9" fmla="*/ 5633142 w 5633142"/>
                  <a:gd name="connsiteY9" fmla="*/ 0 h 146768"/>
                  <a:gd name="connsiteX10" fmla="*/ 5633142 w 5633142"/>
                  <a:gd name="connsiteY10" fmla="*/ 146768 h 146768"/>
                  <a:gd name="connsiteX11" fmla="*/ 5176232 w 5633142"/>
                  <a:gd name="connsiteY11" fmla="*/ 146768 h 146768"/>
                  <a:gd name="connsiteX12" fmla="*/ 4662990 w 5633142"/>
                  <a:gd name="connsiteY12" fmla="*/ 146768 h 146768"/>
                  <a:gd name="connsiteX13" fmla="*/ 3980754 w 5633142"/>
                  <a:gd name="connsiteY13" fmla="*/ 146768 h 146768"/>
                  <a:gd name="connsiteX14" fmla="*/ 3242186 w 5633142"/>
                  <a:gd name="connsiteY14" fmla="*/ 146768 h 146768"/>
                  <a:gd name="connsiteX15" fmla="*/ 2672613 w 5633142"/>
                  <a:gd name="connsiteY15" fmla="*/ 146768 h 146768"/>
                  <a:gd name="connsiteX16" fmla="*/ 1934045 w 5633142"/>
                  <a:gd name="connsiteY16" fmla="*/ 146768 h 146768"/>
                  <a:gd name="connsiteX17" fmla="*/ 1420804 w 5633142"/>
                  <a:gd name="connsiteY17" fmla="*/ 146768 h 146768"/>
                  <a:gd name="connsiteX18" fmla="*/ 963893 w 5633142"/>
                  <a:gd name="connsiteY18" fmla="*/ 146768 h 146768"/>
                  <a:gd name="connsiteX19" fmla="*/ 0 w 5633142"/>
                  <a:gd name="connsiteY19" fmla="*/ 146768 h 146768"/>
                  <a:gd name="connsiteX20" fmla="*/ 0 w 5633142"/>
                  <a:gd name="connsiteY20" fmla="*/ 0 h 14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33142" h="146768" fill="none" extrusionOk="0">
                    <a:moveTo>
                      <a:pt x="0" y="0"/>
                    </a:moveTo>
                    <a:cubicBezTo>
                      <a:pt x="204862" y="16262"/>
                      <a:pt x="264489" y="5114"/>
                      <a:pt x="513242" y="0"/>
                    </a:cubicBezTo>
                    <a:cubicBezTo>
                      <a:pt x="761995" y="-5114"/>
                      <a:pt x="838640" y="1136"/>
                      <a:pt x="1082815" y="0"/>
                    </a:cubicBezTo>
                    <a:cubicBezTo>
                      <a:pt x="1326990" y="-1136"/>
                      <a:pt x="1384926" y="1296"/>
                      <a:pt x="1596057" y="0"/>
                    </a:cubicBezTo>
                    <a:cubicBezTo>
                      <a:pt x="1807188" y="-1296"/>
                      <a:pt x="1961283" y="-951"/>
                      <a:pt x="2278293" y="0"/>
                    </a:cubicBezTo>
                    <a:cubicBezTo>
                      <a:pt x="2595303" y="951"/>
                      <a:pt x="2708047" y="-4796"/>
                      <a:pt x="2904198" y="0"/>
                    </a:cubicBezTo>
                    <a:cubicBezTo>
                      <a:pt x="3100349" y="4796"/>
                      <a:pt x="3404605" y="-22152"/>
                      <a:pt x="3530102" y="0"/>
                    </a:cubicBezTo>
                    <a:cubicBezTo>
                      <a:pt x="3655599" y="22152"/>
                      <a:pt x="3969305" y="8165"/>
                      <a:pt x="4268670" y="0"/>
                    </a:cubicBezTo>
                    <a:cubicBezTo>
                      <a:pt x="4568035" y="-8165"/>
                      <a:pt x="4643779" y="6639"/>
                      <a:pt x="4950906" y="0"/>
                    </a:cubicBezTo>
                    <a:cubicBezTo>
                      <a:pt x="5258033" y="-6639"/>
                      <a:pt x="5447660" y="-22788"/>
                      <a:pt x="5633142" y="0"/>
                    </a:cubicBezTo>
                    <a:cubicBezTo>
                      <a:pt x="5628902" y="66055"/>
                      <a:pt x="5637247" y="98292"/>
                      <a:pt x="5633142" y="146768"/>
                    </a:cubicBezTo>
                    <a:cubicBezTo>
                      <a:pt x="5484023" y="133466"/>
                      <a:pt x="5378091" y="139672"/>
                      <a:pt x="5176232" y="146768"/>
                    </a:cubicBezTo>
                    <a:cubicBezTo>
                      <a:pt x="4974373" y="153865"/>
                      <a:pt x="4786230" y="137056"/>
                      <a:pt x="4662990" y="146768"/>
                    </a:cubicBezTo>
                    <a:cubicBezTo>
                      <a:pt x="4539750" y="156480"/>
                      <a:pt x="4228921" y="168795"/>
                      <a:pt x="3980754" y="146768"/>
                    </a:cubicBezTo>
                    <a:cubicBezTo>
                      <a:pt x="3732587" y="124741"/>
                      <a:pt x="3577943" y="131533"/>
                      <a:pt x="3242186" y="146768"/>
                    </a:cubicBezTo>
                    <a:cubicBezTo>
                      <a:pt x="2906429" y="162003"/>
                      <a:pt x="2874932" y="131901"/>
                      <a:pt x="2672613" y="146768"/>
                    </a:cubicBezTo>
                    <a:cubicBezTo>
                      <a:pt x="2470294" y="161635"/>
                      <a:pt x="2118789" y="163689"/>
                      <a:pt x="1934045" y="146768"/>
                    </a:cubicBezTo>
                    <a:cubicBezTo>
                      <a:pt x="1749301" y="129847"/>
                      <a:pt x="1606352" y="140685"/>
                      <a:pt x="1420804" y="146768"/>
                    </a:cubicBezTo>
                    <a:cubicBezTo>
                      <a:pt x="1235256" y="152851"/>
                      <a:pt x="1110526" y="169509"/>
                      <a:pt x="963893" y="146768"/>
                    </a:cubicBezTo>
                    <a:cubicBezTo>
                      <a:pt x="817260" y="124027"/>
                      <a:pt x="198706" y="113897"/>
                      <a:pt x="0" y="146768"/>
                    </a:cubicBezTo>
                    <a:cubicBezTo>
                      <a:pt x="-5920" y="97231"/>
                      <a:pt x="-6953" y="33004"/>
                      <a:pt x="0" y="0"/>
                    </a:cubicBezTo>
                    <a:close/>
                  </a:path>
                  <a:path w="5633142" h="146768" stroke="0" extrusionOk="0">
                    <a:moveTo>
                      <a:pt x="0" y="0"/>
                    </a:moveTo>
                    <a:cubicBezTo>
                      <a:pt x="148644" y="1371"/>
                      <a:pt x="293563" y="-9672"/>
                      <a:pt x="569573" y="0"/>
                    </a:cubicBezTo>
                    <a:cubicBezTo>
                      <a:pt x="845583" y="9672"/>
                      <a:pt x="839592" y="-3139"/>
                      <a:pt x="1026484" y="0"/>
                    </a:cubicBezTo>
                    <a:cubicBezTo>
                      <a:pt x="1213376" y="3139"/>
                      <a:pt x="1498009" y="26420"/>
                      <a:pt x="1765051" y="0"/>
                    </a:cubicBezTo>
                    <a:cubicBezTo>
                      <a:pt x="2032093" y="-26420"/>
                      <a:pt x="2058733" y="10319"/>
                      <a:pt x="2334624" y="0"/>
                    </a:cubicBezTo>
                    <a:cubicBezTo>
                      <a:pt x="2610515" y="-10319"/>
                      <a:pt x="2687815" y="17650"/>
                      <a:pt x="2904198" y="0"/>
                    </a:cubicBezTo>
                    <a:cubicBezTo>
                      <a:pt x="3120581" y="-17650"/>
                      <a:pt x="3398193" y="-13612"/>
                      <a:pt x="3642765" y="0"/>
                    </a:cubicBezTo>
                    <a:cubicBezTo>
                      <a:pt x="3887337" y="13612"/>
                      <a:pt x="3980221" y="7506"/>
                      <a:pt x="4156007" y="0"/>
                    </a:cubicBezTo>
                    <a:cubicBezTo>
                      <a:pt x="4331793" y="-7506"/>
                      <a:pt x="4563348" y="17526"/>
                      <a:pt x="4894574" y="0"/>
                    </a:cubicBezTo>
                    <a:cubicBezTo>
                      <a:pt x="5225800" y="-17526"/>
                      <a:pt x="5340001" y="-465"/>
                      <a:pt x="5633142" y="0"/>
                    </a:cubicBezTo>
                    <a:cubicBezTo>
                      <a:pt x="5627709" y="34083"/>
                      <a:pt x="5639293" y="114997"/>
                      <a:pt x="5633142" y="146768"/>
                    </a:cubicBezTo>
                    <a:cubicBezTo>
                      <a:pt x="5496951" y="163980"/>
                      <a:pt x="5144508" y="142130"/>
                      <a:pt x="5007237" y="146768"/>
                    </a:cubicBezTo>
                    <a:cubicBezTo>
                      <a:pt x="4869966" y="151406"/>
                      <a:pt x="4602510" y="118710"/>
                      <a:pt x="4437664" y="146768"/>
                    </a:cubicBezTo>
                    <a:cubicBezTo>
                      <a:pt x="4272818" y="174826"/>
                      <a:pt x="3853725" y="149912"/>
                      <a:pt x="3699097" y="146768"/>
                    </a:cubicBezTo>
                    <a:cubicBezTo>
                      <a:pt x="3544469" y="143624"/>
                      <a:pt x="3314703" y="175455"/>
                      <a:pt x="2960529" y="146768"/>
                    </a:cubicBezTo>
                    <a:cubicBezTo>
                      <a:pt x="2606355" y="118081"/>
                      <a:pt x="2619012" y="164377"/>
                      <a:pt x="2447287" y="146768"/>
                    </a:cubicBezTo>
                    <a:cubicBezTo>
                      <a:pt x="2275562" y="129159"/>
                      <a:pt x="2067453" y="123852"/>
                      <a:pt x="1821383" y="146768"/>
                    </a:cubicBezTo>
                    <a:cubicBezTo>
                      <a:pt x="1575313" y="169684"/>
                      <a:pt x="1337110" y="135445"/>
                      <a:pt x="1082815" y="146768"/>
                    </a:cubicBezTo>
                    <a:cubicBezTo>
                      <a:pt x="828520" y="158091"/>
                      <a:pt x="511108" y="179422"/>
                      <a:pt x="0" y="146768"/>
                    </a:cubicBezTo>
                    <a:cubicBezTo>
                      <a:pt x="-5267" y="109840"/>
                      <a:pt x="-6821" y="65565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1" name="Address Bar Background">
                <a:extLst>
                  <a:ext uri="{FF2B5EF4-FFF2-40B4-BE49-F238E27FC236}">
                    <a16:creationId xmlns:a16="http://schemas.microsoft.com/office/drawing/2014/main" id="{685B39F9-DBA3-4302-80A8-FC56EFE248E6}"/>
                  </a:ext>
                </a:extLst>
              </p:cNvPr>
              <p:cNvSpPr/>
              <p:nvPr/>
            </p:nvSpPr>
            <p:spPr>
              <a:xfrm>
                <a:off x="5514057" y="2383243"/>
                <a:ext cx="4598543" cy="84902"/>
              </a:xfrm>
              <a:custGeom>
                <a:avLst/>
                <a:gdLst>
                  <a:gd name="connsiteX0" fmla="*/ 0 w 4598543"/>
                  <a:gd name="connsiteY0" fmla="*/ 0 h 84902"/>
                  <a:gd name="connsiteX1" fmla="*/ 610949 w 4598543"/>
                  <a:gd name="connsiteY1" fmla="*/ 0 h 84902"/>
                  <a:gd name="connsiteX2" fmla="*/ 1129928 w 4598543"/>
                  <a:gd name="connsiteY2" fmla="*/ 0 h 84902"/>
                  <a:gd name="connsiteX3" fmla="*/ 1694892 w 4598543"/>
                  <a:gd name="connsiteY3" fmla="*/ 0 h 84902"/>
                  <a:gd name="connsiteX4" fmla="*/ 2397812 w 4598543"/>
                  <a:gd name="connsiteY4" fmla="*/ 0 h 84902"/>
                  <a:gd name="connsiteX5" fmla="*/ 3008761 w 4598543"/>
                  <a:gd name="connsiteY5" fmla="*/ 0 h 84902"/>
                  <a:gd name="connsiteX6" fmla="*/ 3573725 w 4598543"/>
                  <a:gd name="connsiteY6" fmla="*/ 0 h 84902"/>
                  <a:gd name="connsiteX7" fmla="*/ 4598543 w 4598543"/>
                  <a:gd name="connsiteY7" fmla="*/ 0 h 84902"/>
                  <a:gd name="connsiteX8" fmla="*/ 4598543 w 4598543"/>
                  <a:gd name="connsiteY8" fmla="*/ 84902 h 84902"/>
                  <a:gd name="connsiteX9" fmla="*/ 3941608 w 4598543"/>
                  <a:gd name="connsiteY9" fmla="*/ 84902 h 84902"/>
                  <a:gd name="connsiteX10" fmla="*/ 3376644 w 4598543"/>
                  <a:gd name="connsiteY10" fmla="*/ 84902 h 84902"/>
                  <a:gd name="connsiteX11" fmla="*/ 2627739 w 4598543"/>
                  <a:gd name="connsiteY11" fmla="*/ 84902 h 84902"/>
                  <a:gd name="connsiteX12" fmla="*/ 2016790 w 4598543"/>
                  <a:gd name="connsiteY12" fmla="*/ 84902 h 84902"/>
                  <a:gd name="connsiteX13" fmla="*/ 1497811 w 4598543"/>
                  <a:gd name="connsiteY13" fmla="*/ 84902 h 84902"/>
                  <a:gd name="connsiteX14" fmla="*/ 794891 w 4598543"/>
                  <a:gd name="connsiteY14" fmla="*/ 84902 h 84902"/>
                  <a:gd name="connsiteX15" fmla="*/ 0 w 4598543"/>
                  <a:gd name="connsiteY15" fmla="*/ 84902 h 84902"/>
                  <a:gd name="connsiteX16" fmla="*/ 0 w 4598543"/>
                  <a:gd name="connsiteY16" fmla="*/ 0 h 8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98543" h="84902" fill="none" extrusionOk="0">
                    <a:moveTo>
                      <a:pt x="0" y="0"/>
                    </a:moveTo>
                    <a:cubicBezTo>
                      <a:pt x="229289" y="29538"/>
                      <a:pt x="371415" y="15539"/>
                      <a:pt x="610949" y="0"/>
                    </a:cubicBezTo>
                    <a:cubicBezTo>
                      <a:pt x="850483" y="-15539"/>
                      <a:pt x="931980" y="12751"/>
                      <a:pt x="1129928" y="0"/>
                    </a:cubicBezTo>
                    <a:cubicBezTo>
                      <a:pt x="1327876" y="-12751"/>
                      <a:pt x="1567951" y="12195"/>
                      <a:pt x="1694892" y="0"/>
                    </a:cubicBezTo>
                    <a:cubicBezTo>
                      <a:pt x="1821833" y="-12195"/>
                      <a:pt x="2234916" y="14365"/>
                      <a:pt x="2397812" y="0"/>
                    </a:cubicBezTo>
                    <a:cubicBezTo>
                      <a:pt x="2560708" y="-14365"/>
                      <a:pt x="2872586" y="-26857"/>
                      <a:pt x="3008761" y="0"/>
                    </a:cubicBezTo>
                    <a:cubicBezTo>
                      <a:pt x="3144936" y="26857"/>
                      <a:pt x="3390778" y="15504"/>
                      <a:pt x="3573725" y="0"/>
                    </a:cubicBezTo>
                    <a:cubicBezTo>
                      <a:pt x="3756672" y="-15504"/>
                      <a:pt x="4328979" y="-45536"/>
                      <a:pt x="4598543" y="0"/>
                    </a:cubicBezTo>
                    <a:cubicBezTo>
                      <a:pt x="4597981" y="27104"/>
                      <a:pt x="4597947" y="55244"/>
                      <a:pt x="4598543" y="84902"/>
                    </a:cubicBezTo>
                    <a:cubicBezTo>
                      <a:pt x="4440768" y="109646"/>
                      <a:pt x="4152441" y="77600"/>
                      <a:pt x="3941608" y="84902"/>
                    </a:cubicBezTo>
                    <a:cubicBezTo>
                      <a:pt x="3730775" y="92204"/>
                      <a:pt x="3500145" y="98289"/>
                      <a:pt x="3376644" y="84902"/>
                    </a:cubicBezTo>
                    <a:cubicBezTo>
                      <a:pt x="3253143" y="71515"/>
                      <a:pt x="2907306" y="69637"/>
                      <a:pt x="2627739" y="84902"/>
                    </a:cubicBezTo>
                    <a:cubicBezTo>
                      <a:pt x="2348172" y="100167"/>
                      <a:pt x="2240997" y="67000"/>
                      <a:pt x="2016790" y="84902"/>
                    </a:cubicBezTo>
                    <a:cubicBezTo>
                      <a:pt x="1792583" y="102804"/>
                      <a:pt x="1627031" y="103306"/>
                      <a:pt x="1497811" y="84902"/>
                    </a:cubicBezTo>
                    <a:cubicBezTo>
                      <a:pt x="1368591" y="66498"/>
                      <a:pt x="1061985" y="63908"/>
                      <a:pt x="794891" y="84902"/>
                    </a:cubicBezTo>
                    <a:cubicBezTo>
                      <a:pt x="527797" y="105896"/>
                      <a:pt x="174920" y="75817"/>
                      <a:pt x="0" y="84902"/>
                    </a:cubicBezTo>
                    <a:cubicBezTo>
                      <a:pt x="337" y="52542"/>
                      <a:pt x="582" y="27801"/>
                      <a:pt x="0" y="0"/>
                    </a:cubicBezTo>
                    <a:close/>
                  </a:path>
                  <a:path w="4598543" h="84902" stroke="0" extrusionOk="0">
                    <a:moveTo>
                      <a:pt x="0" y="0"/>
                    </a:moveTo>
                    <a:cubicBezTo>
                      <a:pt x="245075" y="-24510"/>
                      <a:pt x="422041" y="-10520"/>
                      <a:pt x="610949" y="0"/>
                    </a:cubicBezTo>
                    <a:cubicBezTo>
                      <a:pt x="799857" y="10520"/>
                      <a:pt x="962339" y="16190"/>
                      <a:pt x="1129928" y="0"/>
                    </a:cubicBezTo>
                    <a:cubicBezTo>
                      <a:pt x="1297517" y="-16190"/>
                      <a:pt x="1526038" y="-13170"/>
                      <a:pt x="1878833" y="0"/>
                    </a:cubicBezTo>
                    <a:cubicBezTo>
                      <a:pt x="2231628" y="13170"/>
                      <a:pt x="2188071" y="28736"/>
                      <a:pt x="2489783" y="0"/>
                    </a:cubicBezTo>
                    <a:cubicBezTo>
                      <a:pt x="2791495" y="-28736"/>
                      <a:pt x="2904857" y="11873"/>
                      <a:pt x="3100732" y="0"/>
                    </a:cubicBezTo>
                    <a:cubicBezTo>
                      <a:pt x="3296607" y="-11873"/>
                      <a:pt x="3541313" y="-26790"/>
                      <a:pt x="3849637" y="0"/>
                    </a:cubicBezTo>
                    <a:cubicBezTo>
                      <a:pt x="4157962" y="26790"/>
                      <a:pt x="4355737" y="-2018"/>
                      <a:pt x="4598543" y="0"/>
                    </a:cubicBezTo>
                    <a:cubicBezTo>
                      <a:pt x="4596535" y="40259"/>
                      <a:pt x="4596753" y="47653"/>
                      <a:pt x="4598543" y="84902"/>
                    </a:cubicBezTo>
                    <a:cubicBezTo>
                      <a:pt x="4334393" y="77125"/>
                      <a:pt x="4238877" y="85386"/>
                      <a:pt x="4033579" y="84902"/>
                    </a:cubicBezTo>
                    <a:cubicBezTo>
                      <a:pt x="3828281" y="84418"/>
                      <a:pt x="3580556" y="97925"/>
                      <a:pt x="3376644" y="84902"/>
                    </a:cubicBezTo>
                    <a:cubicBezTo>
                      <a:pt x="3172732" y="71879"/>
                      <a:pt x="3019455" y="55316"/>
                      <a:pt x="2719710" y="84902"/>
                    </a:cubicBezTo>
                    <a:cubicBezTo>
                      <a:pt x="2419965" y="114488"/>
                      <a:pt x="2297015" y="106137"/>
                      <a:pt x="2108760" y="84902"/>
                    </a:cubicBezTo>
                    <a:cubicBezTo>
                      <a:pt x="1920505" y="63668"/>
                      <a:pt x="1577513" y="68128"/>
                      <a:pt x="1359855" y="84902"/>
                    </a:cubicBezTo>
                    <a:cubicBezTo>
                      <a:pt x="1142198" y="101676"/>
                      <a:pt x="944349" y="66361"/>
                      <a:pt x="610949" y="84902"/>
                    </a:cubicBezTo>
                    <a:cubicBezTo>
                      <a:pt x="277549" y="103443"/>
                      <a:pt x="291731" y="96904"/>
                      <a:pt x="0" y="84902"/>
                    </a:cubicBezTo>
                    <a:cubicBezTo>
                      <a:pt x="1504" y="64811"/>
                      <a:pt x="2191" y="23288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22" name="Right Arrow">
                <a:extLst>
                  <a:ext uri="{FF2B5EF4-FFF2-40B4-BE49-F238E27FC236}">
                    <a16:creationId xmlns:a16="http://schemas.microsoft.com/office/drawing/2014/main" id="{2F7E7030-AE23-4C71-9D40-8C71448C5571}"/>
                  </a:ext>
                </a:extLst>
              </p:cNvPr>
              <p:cNvGrpSpPr/>
              <p:nvPr/>
            </p:nvGrpSpPr>
            <p:grpSpPr>
              <a:xfrm>
                <a:off x="5128197" y="2407577"/>
                <a:ext cx="55821" cy="39982"/>
                <a:chOff x="5128197" y="2407577"/>
                <a:chExt cx="55821" cy="39982"/>
              </a:xfrm>
            </p:grpSpPr>
            <p:grpSp>
              <p:nvGrpSpPr>
                <p:cNvPr id="549" name="Right Arrow">
                  <a:extLst>
                    <a:ext uri="{FF2B5EF4-FFF2-40B4-BE49-F238E27FC236}">
                      <a16:creationId xmlns:a16="http://schemas.microsoft.com/office/drawing/2014/main" id="{4D35FA65-08E4-45FF-94BF-C0C56E3834B4}"/>
                    </a:ext>
                  </a:extLst>
                </p:cNvPr>
                <p:cNvGrpSpPr/>
                <p:nvPr/>
              </p:nvGrpSpPr>
              <p:grpSpPr>
                <a:xfrm rot="13370064">
                  <a:off x="5144036" y="2407577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51" name="Line 2">
                    <a:extLst>
                      <a:ext uri="{FF2B5EF4-FFF2-40B4-BE49-F238E27FC236}">
                        <a16:creationId xmlns:a16="http://schemas.microsoft.com/office/drawing/2014/main" id="{B5814EB0-87FC-4756-AF48-63BC64B5A1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2" name="Line 1">
                    <a:extLst>
                      <a:ext uri="{FF2B5EF4-FFF2-40B4-BE49-F238E27FC236}">
                        <a16:creationId xmlns:a16="http://schemas.microsoft.com/office/drawing/2014/main" id="{4D5BF2D1-807C-4A5B-BC2D-13570B0EDD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50" name="Right Arrow">
                  <a:extLst>
                    <a:ext uri="{FF2B5EF4-FFF2-40B4-BE49-F238E27FC236}">
                      <a16:creationId xmlns:a16="http://schemas.microsoft.com/office/drawing/2014/main" id="{FF254B69-F7DD-44F0-A30E-CBC5D9CAE5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28197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3" name="Left Arrow">
                <a:extLst>
                  <a:ext uri="{FF2B5EF4-FFF2-40B4-BE49-F238E27FC236}">
                    <a16:creationId xmlns:a16="http://schemas.microsoft.com/office/drawing/2014/main" id="{B0BE31A3-3EBB-4564-A28D-07C34782648F}"/>
                  </a:ext>
                </a:extLst>
              </p:cNvPr>
              <p:cNvGrpSpPr/>
              <p:nvPr/>
            </p:nvGrpSpPr>
            <p:grpSpPr>
              <a:xfrm>
                <a:off x="5004669" y="2407458"/>
                <a:ext cx="56118" cy="39982"/>
                <a:chOff x="5004669" y="2407458"/>
                <a:chExt cx="56118" cy="39982"/>
              </a:xfrm>
            </p:grpSpPr>
            <p:grpSp>
              <p:nvGrpSpPr>
                <p:cNvPr id="545" name="Left Arrow">
                  <a:extLst>
                    <a:ext uri="{FF2B5EF4-FFF2-40B4-BE49-F238E27FC236}">
                      <a16:creationId xmlns:a16="http://schemas.microsoft.com/office/drawing/2014/main" id="{35C6CA7C-337E-4C13-A902-50183FE3105E}"/>
                    </a:ext>
                  </a:extLst>
                </p:cNvPr>
                <p:cNvGrpSpPr/>
                <p:nvPr/>
              </p:nvGrpSpPr>
              <p:grpSpPr>
                <a:xfrm rot="8229936" flipH="1">
                  <a:off x="5004669" y="2407458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47" name="Line 2">
                    <a:extLst>
                      <a:ext uri="{FF2B5EF4-FFF2-40B4-BE49-F238E27FC236}">
                        <a16:creationId xmlns:a16="http://schemas.microsoft.com/office/drawing/2014/main" id="{7872BCB5-50C6-4D17-B3E5-7C261012102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8" name="Line 1">
                    <a:extLst>
                      <a:ext uri="{FF2B5EF4-FFF2-40B4-BE49-F238E27FC236}">
                        <a16:creationId xmlns:a16="http://schemas.microsoft.com/office/drawing/2014/main" id="{B2E27EF4-CBCF-41A5-82B8-16D09FE3764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46" name="Left Arrow">
                  <a:extLst>
                    <a:ext uri="{FF2B5EF4-FFF2-40B4-BE49-F238E27FC236}">
                      <a16:creationId xmlns:a16="http://schemas.microsoft.com/office/drawing/2014/main" id="{9FD14A27-CF2D-40DD-9248-09C9BAD52F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2808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24" name="Search Address Bar Icon" descr="Magnifying glass">
                <a:extLst>
                  <a:ext uri="{FF2B5EF4-FFF2-40B4-BE49-F238E27FC236}">
                    <a16:creationId xmlns:a16="http://schemas.microsoft.com/office/drawing/2014/main" id="{4C28C5D4-573A-4815-946D-BFF46133E4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H="1">
                <a:off x="5539664" y="2402166"/>
                <a:ext cx="48632" cy="48632"/>
              </a:xfrm>
              <a:prstGeom prst="rect">
                <a:avLst/>
              </a:prstGeom>
            </p:spPr>
          </p:pic>
          <p:sp>
            <p:nvSpPr>
              <p:cNvPr id="525" name="Search Address Bar Text">
                <a:extLst>
                  <a:ext uri="{FF2B5EF4-FFF2-40B4-BE49-F238E27FC236}">
                    <a16:creationId xmlns:a16="http://schemas.microsoft.com/office/drawing/2014/main" id="{F4A46A15-079C-4B4A-A2A7-4B46B7DD69EC}"/>
                  </a:ext>
                </a:extLst>
              </p:cNvPr>
              <p:cNvSpPr txBox="1"/>
              <p:nvPr/>
            </p:nvSpPr>
            <p:spPr>
              <a:xfrm>
                <a:off x="5529550" y="2361221"/>
                <a:ext cx="1335040" cy="149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70" dirty="0">
                    <a:solidFill>
                      <a:srgbClr val="AEAEAE"/>
                    </a:solidFill>
                  </a:rPr>
                  <a:t>Search or enter web address</a:t>
                </a:r>
              </a:p>
            </p:txBody>
          </p:sp>
          <p:pic>
            <p:nvPicPr>
              <p:cNvPr id="526" name="Refresh Button" descr="Refresh">
                <a:extLst>
                  <a:ext uri="{FF2B5EF4-FFF2-40B4-BE49-F238E27FC236}">
                    <a16:creationId xmlns:a16="http://schemas.microsoft.com/office/drawing/2014/main" id="{09D65992-45BC-4343-9F7B-4797F33FF8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7611513">
                <a:off x="5247646" y="2397778"/>
                <a:ext cx="59306" cy="59306"/>
              </a:xfrm>
              <a:prstGeom prst="rect">
                <a:avLst/>
              </a:prstGeom>
            </p:spPr>
          </p:pic>
          <p:pic>
            <p:nvPicPr>
              <p:cNvPr id="527" name="Home Button" descr="Home">
                <a:extLst>
                  <a:ext uri="{FF2B5EF4-FFF2-40B4-BE49-F238E27FC236}">
                    <a16:creationId xmlns:a16="http://schemas.microsoft.com/office/drawing/2014/main" id="{3D38578F-3F8D-4CB7-91EC-80501AE330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371550" y="2399299"/>
                <a:ext cx="59306" cy="59306"/>
              </a:xfrm>
              <a:prstGeom prst="rect">
                <a:avLst/>
              </a:prstGeom>
            </p:spPr>
          </p:pic>
          <p:grpSp>
            <p:nvGrpSpPr>
              <p:cNvPr id="528" name="Address Bar Settings Button">
                <a:extLst>
                  <a:ext uri="{FF2B5EF4-FFF2-40B4-BE49-F238E27FC236}">
                    <a16:creationId xmlns:a16="http://schemas.microsoft.com/office/drawing/2014/main" id="{DB281471-0E34-49CB-956F-F16D446D26A9}"/>
                  </a:ext>
                </a:extLst>
              </p:cNvPr>
              <p:cNvGrpSpPr/>
              <p:nvPr/>
            </p:nvGrpSpPr>
            <p:grpSpPr>
              <a:xfrm>
                <a:off x="10462849" y="2419434"/>
                <a:ext cx="64797" cy="15993"/>
                <a:chOff x="10790691" y="1400190"/>
                <a:chExt cx="74096" cy="18288"/>
              </a:xfrm>
            </p:grpSpPr>
            <p:sp>
              <p:nvSpPr>
                <p:cNvPr id="542" name="Circle">
                  <a:extLst>
                    <a:ext uri="{FF2B5EF4-FFF2-40B4-BE49-F238E27FC236}">
                      <a16:creationId xmlns:a16="http://schemas.microsoft.com/office/drawing/2014/main" id="{E665D752-7AB7-4FF6-B09C-1207C4312256}"/>
                    </a:ext>
                  </a:extLst>
                </p:cNvPr>
                <p:cNvSpPr/>
                <p:nvPr/>
              </p:nvSpPr>
              <p:spPr>
                <a:xfrm>
                  <a:off x="10846499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3" name="Circle">
                  <a:extLst>
                    <a:ext uri="{FF2B5EF4-FFF2-40B4-BE49-F238E27FC236}">
                      <a16:creationId xmlns:a16="http://schemas.microsoft.com/office/drawing/2014/main" id="{66F8E6F1-ACFA-40B0-BE17-B1C173E45A8C}"/>
                    </a:ext>
                  </a:extLst>
                </p:cNvPr>
                <p:cNvSpPr/>
                <p:nvPr/>
              </p:nvSpPr>
              <p:spPr>
                <a:xfrm>
                  <a:off x="10818595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4" name="Circle">
                  <a:extLst>
                    <a:ext uri="{FF2B5EF4-FFF2-40B4-BE49-F238E27FC236}">
                      <a16:creationId xmlns:a16="http://schemas.microsoft.com/office/drawing/2014/main" id="{9D4C3D15-84DA-4A39-AB09-681268FF014C}"/>
                    </a:ext>
                  </a:extLst>
                </p:cNvPr>
                <p:cNvSpPr/>
                <p:nvPr/>
              </p:nvSpPr>
              <p:spPr>
                <a:xfrm>
                  <a:off x="10790691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29" name="Add Button">
                <a:extLst>
                  <a:ext uri="{FF2B5EF4-FFF2-40B4-BE49-F238E27FC236}">
                    <a16:creationId xmlns:a16="http://schemas.microsoft.com/office/drawing/2014/main" id="{1CF79268-3321-4B74-BCE1-D4A4AAD16FD8}"/>
                  </a:ext>
                </a:extLst>
              </p:cNvPr>
              <p:cNvGrpSpPr/>
              <p:nvPr/>
            </p:nvGrpSpPr>
            <p:grpSpPr>
              <a:xfrm>
                <a:off x="5822685" y="2296671"/>
                <a:ext cx="39983" cy="39983"/>
                <a:chOff x="5822685" y="2296671"/>
                <a:chExt cx="39983" cy="39983"/>
              </a:xfrm>
            </p:grpSpPr>
            <p:cxnSp>
              <p:nvCxnSpPr>
                <p:cNvPr id="540" name="Line 2">
                  <a:extLst>
                    <a:ext uri="{FF2B5EF4-FFF2-40B4-BE49-F238E27FC236}">
                      <a16:creationId xmlns:a16="http://schemas.microsoft.com/office/drawing/2014/main" id="{54CFD6A6-0869-494F-B18E-802C12FE99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22685" y="2315861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1" name="Line 1">
                  <a:extLst>
                    <a:ext uri="{FF2B5EF4-FFF2-40B4-BE49-F238E27FC236}">
                      <a16:creationId xmlns:a16="http://schemas.microsoft.com/office/drawing/2014/main" id="{8380DE50-4991-4F02-B8C0-D20EA5332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5821643" y="2316663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30" name="Close Button" descr="Close">
                <a:extLst>
                  <a:ext uri="{FF2B5EF4-FFF2-40B4-BE49-F238E27FC236}">
                    <a16:creationId xmlns:a16="http://schemas.microsoft.com/office/drawing/2014/main" id="{8CFE01B9-D061-4B76-829A-F01DB3F256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10465079" y="229656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1" name="Maximize Button">
                <a:extLst>
                  <a:ext uri="{FF2B5EF4-FFF2-40B4-BE49-F238E27FC236}">
                    <a16:creationId xmlns:a16="http://schemas.microsoft.com/office/drawing/2014/main" id="{1523D9FA-3565-4670-B7CA-B24512A67F8F}"/>
                  </a:ext>
                </a:extLst>
              </p:cNvPr>
              <p:cNvSpPr/>
              <p:nvPr/>
            </p:nvSpPr>
            <p:spPr>
              <a:xfrm>
                <a:off x="10328833" y="2301847"/>
                <a:ext cx="31986" cy="31986"/>
              </a:xfrm>
              <a:prstGeom prst="rect">
                <a:avLst/>
              </a:prstGeom>
              <a:noFill/>
              <a:ln w="6350">
                <a:solidFill>
                  <a:srgbClr val="09090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32" name="Minimize Button">
                <a:extLst>
                  <a:ext uri="{FF2B5EF4-FFF2-40B4-BE49-F238E27FC236}">
                    <a16:creationId xmlns:a16="http://schemas.microsoft.com/office/drawing/2014/main" id="{A709F5FE-9E36-44B6-9DF5-E402CB1D79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0145" y="2316798"/>
                <a:ext cx="31986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3" name="Webpage Small Title Background">
                <a:extLst>
                  <a:ext uri="{FF2B5EF4-FFF2-40B4-BE49-F238E27FC236}">
                    <a16:creationId xmlns:a16="http://schemas.microsoft.com/office/drawing/2014/main" id="{8B8FC058-1C60-4C02-A8F2-586AA1954CC0}"/>
                  </a:ext>
                </a:extLst>
              </p:cNvPr>
              <p:cNvSpPr/>
              <p:nvPr/>
            </p:nvSpPr>
            <p:spPr>
              <a:xfrm>
                <a:off x="5167332" y="2270515"/>
                <a:ext cx="622646" cy="104134"/>
              </a:xfrm>
              <a:custGeom>
                <a:avLst/>
                <a:gdLst>
                  <a:gd name="connsiteX0" fmla="*/ 0 w 622646"/>
                  <a:gd name="connsiteY0" fmla="*/ 0 h 104134"/>
                  <a:gd name="connsiteX1" fmla="*/ 622646 w 622646"/>
                  <a:gd name="connsiteY1" fmla="*/ 0 h 104134"/>
                  <a:gd name="connsiteX2" fmla="*/ 622646 w 622646"/>
                  <a:gd name="connsiteY2" fmla="*/ 104134 h 104134"/>
                  <a:gd name="connsiteX3" fmla="*/ 0 w 622646"/>
                  <a:gd name="connsiteY3" fmla="*/ 104134 h 104134"/>
                  <a:gd name="connsiteX4" fmla="*/ 0 w 622646"/>
                  <a:gd name="connsiteY4" fmla="*/ 0 h 10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646" h="104134" fill="none" extrusionOk="0">
                    <a:moveTo>
                      <a:pt x="0" y="0"/>
                    </a:moveTo>
                    <a:cubicBezTo>
                      <a:pt x="303527" y="-11224"/>
                      <a:pt x="347830" y="-2420"/>
                      <a:pt x="622646" y="0"/>
                    </a:cubicBezTo>
                    <a:cubicBezTo>
                      <a:pt x="617543" y="49713"/>
                      <a:pt x="627647" y="70936"/>
                      <a:pt x="622646" y="104134"/>
                    </a:cubicBezTo>
                    <a:cubicBezTo>
                      <a:pt x="427445" y="95508"/>
                      <a:pt x="185225" y="129744"/>
                      <a:pt x="0" y="104134"/>
                    </a:cubicBezTo>
                    <a:cubicBezTo>
                      <a:pt x="-1595" y="70651"/>
                      <a:pt x="3854" y="34322"/>
                      <a:pt x="0" y="0"/>
                    </a:cubicBezTo>
                    <a:close/>
                  </a:path>
                  <a:path w="622646" h="104134" stroke="0" extrusionOk="0">
                    <a:moveTo>
                      <a:pt x="0" y="0"/>
                    </a:moveTo>
                    <a:cubicBezTo>
                      <a:pt x="270705" y="-8460"/>
                      <a:pt x="453983" y="-12708"/>
                      <a:pt x="622646" y="0"/>
                    </a:cubicBezTo>
                    <a:cubicBezTo>
                      <a:pt x="619928" y="35983"/>
                      <a:pt x="619772" y="62275"/>
                      <a:pt x="622646" y="104134"/>
                    </a:cubicBezTo>
                    <a:cubicBezTo>
                      <a:pt x="357335" y="87148"/>
                      <a:pt x="268814" y="119323"/>
                      <a:pt x="0" y="104134"/>
                    </a:cubicBezTo>
                    <a:cubicBezTo>
                      <a:pt x="933" y="57310"/>
                      <a:pt x="-398" y="29390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34" name="Webpage Close Icon" descr="Close">
                <a:extLst>
                  <a:ext uri="{FF2B5EF4-FFF2-40B4-BE49-F238E27FC236}">
                    <a16:creationId xmlns:a16="http://schemas.microsoft.com/office/drawing/2014/main" id="{54440EC5-88CB-481D-BBE4-52BCFD6B1E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717383" y="229698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5" name="Webpage Name">
                <a:extLst>
                  <a:ext uri="{FF2B5EF4-FFF2-40B4-BE49-F238E27FC236}">
                    <a16:creationId xmlns:a16="http://schemas.microsoft.com/office/drawing/2014/main" id="{78A40229-4D45-4960-9218-446DE8A37743}"/>
                  </a:ext>
                </a:extLst>
              </p:cNvPr>
              <p:cNvSpPr txBox="1"/>
              <p:nvPr/>
            </p:nvSpPr>
            <p:spPr>
              <a:xfrm>
                <a:off x="5272180" y="2289186"/>
                <a:ext cx="138919" cy="53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400" dirty="0">
                    <a:solidFill>
                      <a:srgbClr val="555555"/>
                    </a:solidFill>
                  </a:rPr>
                  <a:t>Start</a:t>
                </a:r>
              </a:p>
            </p:txBody>
          </p:sp>
          <p:grpSp>
            <p:nvGrpSpPr>
              <p:cNvPr id="536" name="Website Icon Placeholder">
                <a:extLst>
                  <a:ext uri="{FF2B5EF4-FFF2-40B4-BE49-F238E27FC236}">
                    <a16:creationId xmlns:a16="http://schemas.microsoft.com/office/drawing/2014/main" id="{F12C93E2-424A-4D9A-9C11-A3F49BB5936C}"/>
                  </a:ext>
                </a:extLst>
              </p:cNvPr>
              <p:cNvGrpSpPr/>
              <p:nvPr/>
            </p:nvGrpSpPr>
            <p:grpSpPr>
              <a:xfrm>
                <a:off x="5204508" y="2295596"/>
                <a:ext cx="41452" cy="40711"/>
                <a:chOff x="1950533" y="1912092"/>
                <a:chExt cx="144420" cy="141838"/>
              </a:xfrm>
            </p:grpSpPr>
            <p:sp>
              <p:nvSpPr>
                <p:cNvPr id="537" name="Square">
                  <a:extLst>
                    <a:ext uri="{FF2B5EF4-FFF2-40B4-BE49-F238E27FC236}">
                      <a16:creationId xmlns:a16="http://schemas.microsoft.com/office/drawing/2014/main" id="{E6DBB03C-63A7-4CFC-8B29-388FF596A28C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3175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538" name="Line 2">
                  <a:extLst>
                    <a:ext uri="{FF2B5EF4-FFF2-40B4-BE49-F238E27FC236}">
                      <a16:creationId xmlns:a16="http://schemas.microsoft.com/office/drawing/2014/main" id="{5E74EB29-1C16-4733-81E3-224E14FE7904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9" name="Line 1">
                  <a:extLst>
                    <a:ext uri="{FF2B5EF4-FFF2-40B4-BE49-F238E27FC236}">
                      <a16:creationId xmlns:a16="http://schemas.microsoft.com/office/drawing/2014/main" id="{6C9D239C-AE67-4A5B-9A3A-082D19552BF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" name="Tablet Outline">
              <a:extLst>
                <a:ext uri="{FF2B5EF4-FFF2-40B4-BE49-F238E27FC236}">
                  <a16:creationId xmlns:a16="http://schemas.microsoft.com/office/drawing/2014/main" id="{ACE4A6A2-5007-495E-8EF4-5B0E4876DEC8}"/>
                </a:ext>
              </a:extLst>
            </p:cNvPr>
            <p:cNvGrpSpPr/>
            <p:nvPr/>
          </p:nvGrpSpPr>
          <p:grpSpPr>
            <a:xfrm rot="16200000">
              <a:off x="3510205" y="-874665"/>
              <a:ext cx="6068060" cy="8606117"/>
              <a:chOff x="4740346" y="2465294"/>
              <a:chExt cx="1802369" cy="2556237"/>
            </a:xfrm>
          </p:grpSpPr>
          <p:sp>
            <p:nvSpPr>
              <p:cNvPr id="559" name="Tablet Outline and Screen">
                <a:extLst>
                  <a:ext uri="{FF2B5EF4-FFF2-40B4-BE49-F238E27FC236}">
                    <a16:creationId xmlns:a16="http://schemas.microsoft.com/office/drawing/2014/main" id="{B19BED11-7706-491F-9F26-4D73A09B09AB}"/>
                  </a:ext>
                </a:extLst>
              </p:cNvPr>
              <p:cNvSpPr/>
              <p:nvPr/>
            </p:nvSpPr>
            <p:spPr>
              <a:xfrm rot="5400000">
                <a:off x="4363640" y="2842456"/>
                <a:ext cx="2555781" cy="1802369"/>
              </a:xfrm>
              <a:custGeom>
                <a:avLst/>
                <a:gdLst>
                  <a:gd name="connsiteX0" fmla="*/ 98312 w 2555781"/>
                  <a:gd name="connsiteY0" fmla="*/ 1707597 h 1802369"/>
                  <a:gd name="connsiteX1" fmla="*/ 2354723 w 2555781"/>
                  <a:gd name="connsiteY1" fmla="*/ 1707597 h 1802369"/>
                  <a:gd name="connsiteX2" fmla="*/ 2354723 w 2555781"/>
                  <a:gd name="connsiteY2" fmla="*/ 94770 h 1802369"/>
                  <a:gd name="connsiteX3" fmla="*/ 98312 w 2555781"/>
                  <a:gd name="connsiteY3" fmla="*/ 94770 h 1802369"/>
                  <a:gd name="connsiteX4" fmla="*/ 0 w 2555781"/>
                  <a:gd name="connsiteY4" fmla="*/ 1732509 h 1802369"/>
                  <a:gd name="connsiteX5" fmla="*/ 0 w 2555781"/>
                  <a:gd name="connsiteY5" fmla="*/ 69860 h 1802369"/>
                  <a:gd name="connsiteX6" fmla="*/ 69860 w 2555781"/>
                  <a:gd name="connsiteY6" fmla="*/ 0 h 1802369"/>
                  <a:gd name="connsiteX7" fmla="*/ 2485921 w 2555781"/>
                  <a:gd name="connsiteY7" fmla="*/ 0 h 1802369"/>
                  <a:gd name="connsiteX8" fmla="*/ 2555781 w 2555781"/>
                  <a:gd name="connsiteY8" fmla="*/ 69860 h 1802369"/>
                  <a:gd name="connsiteX9" fmla="*/ 2555781 w 2555781"/>
                  <a:gd name="connsiteY9" fmla="*/ 1732509 h 1802369"/>
                  <a:gd name="connsiteX10" fmla="*/ 2485921 w 2555781"/>
                  <a:gd name="connsiteY10" fmla="*/ 1802369 h 1802369"/>
                  <a:gd name="connsiteX11" fmla="*/ 69860 w 2555781"/>
                  <a:gd name="connsiteY11" fmla="*/ 1802369 h 1802369"/>
                  <a:gd name="connsiteX12" fmla="*/ 0 w 2555781"/>
                  <a:gd name="connsiteY12" fmla="*/ 1732509 h 180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5781" h="1802369">
                    <a:moveTo>
                      <a:pt x="98312" y="1707597"/>
                    </a:moveTo>
                    <a:lnTo>
                      <a:pt x="2354723" y="1707597"/>
                    </a:lnTo>
                    <a:lnTo>
                      <a:pt x="2354723" y="94770"/>
                    </a:lnTo>
                    <a:lnTo>
                      <a:pt x="98312" y="94770"/>
                    </a:lnTo>
                    <a:close/>
                    <a:moveTo>
                      <a:pt x="0" y="1732509"/>
                    </a:moveTo>
                    <a:lnTo>
                      <a:pt x="0" y="69860"/>
                    </a:lnTo>
                    <a:cubicBezTo>
                      <a:pt x="0" y="31277"/>
                      <a:pt x="31277" y="0"/>
                      <a:pt x="69860" y="0"/>
                    </a:cubicBezTo>
                    <a:lnTo>
                      <a:pt x="2485921" y="0"/>
                    </a:lnTo>
                    <a:cubicBezTo>
                      <a:pt x="2524504" y="0"/>
                      <a:pt x="2555781" y="31277"/>
                      <a:pt x="2555781" y="69860"/>
                    </a:cubicBezTo>
                    <a:lnTo>
                      <a:pt x="2555781" y="1732509"/>
                    </a:lnTo>
                    <a:cubicBezTo>
                      <a:pt x="2555781" y="1771092"/>
                      <a:pt x="2524504" y="1802369"/>
                      <a:pt x="2485921" y="1802369"/>
                    </a:cubicBezTo>
                    <a:lnTo>
                      <a:pt x="69860" y="1802369"/>
                    </a:lnTo>
                    <a:cubicBezTo>
                      <a:pt x="31277" y="1802369"/>
                      <a:pt x="0" y="1771092"/>
                      <a:pt x="0" y="1732509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0" name="Tablet Home Button">
                <a:extLst>
                  <a:ext uri="{FF2B5EF4-FFF2-40B4-BE49-F238E27FC236}">
                    <a16:creationId xmlns:a16="http://schemas.microsoft.com/office/drawing/2014/main" id="{F4B994A9-357B-4A98-B948-20D42E96D618}"/>
                  </a:ext>
                </a:extLst>
              </p:cNvPr>
              <p:cNvSpPr/>
              <p:nvPr/>
            </p:nvSpPr>
            <p:spPr>
              <a:xfrm rot="5400000">
                <a:off x="5573142" y="4850882"/>
                <a:ext cx="136777" cy="136777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1" name="Tablet Outline">
                <a:extLst>
                  <a:ext uri="{FF2B5EF4-FFF2-40B4-BE49-F238E27FC236}">
                    <a16:creationId xmlns:a16="http://schemas.microsoft.com/office/drawing/2014/main" id="{842DDC13-0BD5-4A26-A042-ADCB01FC6D42}"/>
                  </a:ext>
                </a:extLst>
              </p:cNvPr>
              <p:cNvSpPr/>
              <p:nvPr/>
            </p:nvSpPr>
            <p:spPr>
              <a:xfrm rot="5400000">
                <a:off x="4363640" y="2842000"/>
                <a:ext cx="2555781" cy="1802369"/>
              </a:xfrm>
              <a:prstGeom prst="roundRect">
                <a:avLst>
                  <a:gd name="adj" fmla="val 387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1" name="Mobile Device Outline" descr="A mockup of mobile interface on a phone.">
            <a:extLst>
              <a:ext uri="{FF2B5EF4-FFF2-40B4-BE49-F238E27FC236}">
                <a16:creationId xmlns:a16="http://schemas.microsoft.com/office/drawing/2014/main" id="{22D67D32-396A-4AAB-9566-759C06E1F4FE}"/>
              </a:ext>
            </a:extLst>
          </p:cNvPr>
          <p:cNvGrpSpPr/>
          <p:nvPr/>
        </p:nvGrpSpPr>
        <p:grpSpPr>
          <a:xfrm>
            <a:off x="8698534" y="1357874"/>
            <a:ext cx="2736739" cy="5016282"/>
            <a:chOff x="1357224" y="2005431"/>
            <a:chExt cx="2449955" cy="4490624"/>
          </a:xfrm>
        </p:grpSpPr>
        <p:sp>
          <p:nvSpPr>
            <p:cNvPr id="182" name="Menu Header Background">
              <a:extLst>
                <a:ext uri="{FF2B5EF4-FFF2-40B4-BE49-F238E27FC236}">
                  <a16:creationId xmlns:a16="http://schemas.microsoft.com/office/drawing/2014/main" id="{000DEACF-1A7C-45C9-8430-A637BD693E6A}"/>
                </a:ext>
              </a:extLst>
            </p:cNvPr>
            <p:cNvSpPr/>
            <p:nvPr/>
          </p:nvSpPr>
          <p:spPr>
            <a:xfrm>
              <a:off x="1466781" y="2387397"/>
              <a:ext cx="2232972" cy="402586"/>
            </a:xfrm>
            <a:custGeom>
              <a:avLst/>
              <a:gdLst>
                <a:gd name="connsiteX0" fmla="*/ 0 w 2232972"/>
                <a:gd name="connsiteY0" fmla="*/ 0 h 402586"/>
                <a:gd name="connsiteX1" fmla="*/ 0 w 2232972"/>
                <a:gd name="connsiteY1" fmla="*/ 0 h 402586"/>
                <a:gd name="connsiteX2" fmla="*/ 535913 w 2232972"/>
                <a:gd name="connsiteY2" fmla="*/ 0 h 402586"/>
                <a:gd name="connsiteX3" fmla="*/ 1094156 w 2232972"/>
                <a:gd name="connsiteY3" fmla="*/ 0 h 402586"/>
                <a:gd name="connsiteX4" fmla="*/ 1652399 w 2232972"/>
                <a:gd name="connsiteY4" fmla="*/ 0 h 402586"/>
                <a:gd name="connsiteX5" fmla="*/ 2232972 w 2232972"/>
                <a:gd name="connsiteY5" fmla="*/ 0 h 402586"/>
                <a:gd name="connsiteX6" fmla="*/ 2232972 w 2232972"/>
                <a:gd name="connsiteY6" fmla="*/ 0 h 402586"/>
                <a:gd name="connsiteX7" fmla="*/ 2232972 w 2232972"/>
                <a:gd name="connsiteY7" fmla="*/ 402586 h 402586"/>
                <a:gd name="connsiteX8" fmla="*/ 2232972 w 2232972"/>
                <a:gd name="connsiteY8" fmla="*/ 402586 h 402586"/>
                <a:gd name="connsiteX9" fmla="*/ 1674729 w 2232972"/>
                <a:gd name="connsiteY9" fmla="*/ 402586 h 402586"/>
                <a:gd name="connsiteX10" fmla="*/ 1161145 w 2232972"/>
                <a:gd name="connsiteY10" fmla="*/ 402586 h 402586"/>
                <a:gd name="connsiteX11" fmla="*/ 647562 w 2232972"/>
                <a:gd name="connsiteY11" fmla="*/ 402586 h 402586"/>
                <a:gd name="connsiteX12" fmla="*/ 0 w 2232972"/>
                <a:gd name="connsiteY12" fmla="*/ 402586 h 402586"/>
                <a:gd name="connsiteX13" fmla="*/ 0 w 2232972"/>
                <a:gd name="connsiteY13" fmla="*/ 402586 h 402586"/>
                <a:gd name="connsiteX14" fmla="*/ 0 w 2232972"/>
                <a:gd name="connsiteY14" fmla="*/ 0 h 4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32972" h="402586" fill="none" extrusionOk="0">
                  <a:moveTo>
                    <a:pt x="0" y="0"/>
                  </a:moveTo>
                  <a:lnTo>
                    <a:pt x="0" y="0"/>
                  </a:lnTo>
                  <a:cubicBezTo>
                    <a:pt x="147406" y="-11487"/>
                    <a:pt x="272346" y="7094"/>
                    <a:pt x="535913" y="0"/>
                  </a:cubicBezTo>
                  <a:cubicBezTo>
                    <a:pt x="799480" y="-7094"/>
                    <a:pt x="890176" y="14257"/>
                    <a:pt x="1094156" y="0"/>
                  </a:cubicBezTo>
                  <a:cubicBezTo>
                    <a:pt x="1298136" y="-14257"/>
                    <a:pt x="1530231" y="1464"/>
                    <a:pt x="1652399" y="0"/>
                  </a:cubicBezTo>
                  <a:cubicBezTo>
                    <a:pt x="1774567" y="-1464"/>
                    <a:pt x="2039451" y="26039"/>
                    <a:pt x="2232972" y="0"/>
                  </a:cubicBezTo>
                  <a:lnTo>
                    <a:pt x="2232972" y="0"/>
                  </a:lnTo>
                  <a:cubicBezTo>
                    <a:pt x="2219879" y="83520"/>
                    <a:pt x="2246032" y="273696"/>
                    <a:pt x="2232972" y="402586"/>
                  </a:cubicBezTo>
                  <a:lnTo>
                    <a:pt x="2232972" y="402586"/>
                  </a:lnTo>
                  <a:cubicBezTo>
                    <a:pt x="2065325" y="414939"/>
                    <a:pt x="1843769" y="402560"/>
                    <a:pt x="1674729" y="402586"/>
                  </a:cubicBezTo>
                  <a:cubicBezTo>
                    <a:pt x="1505689" y="402612"/>
                    <a:pt x="1378045" y="379808"/>
                    <a:pt x="1161145" y="402586"/>
                  </a:cubicBezTo>
                  <a:cubicBezTo>
                    <a:pt x="944245" y="425364"/>
                    <a:pt x="877932" y="399227"/>
                    <a:pt x="647562" y="402586"/>
                  </a:cubicBezTo>
                  <a:cubicBezTo>
                    <a:pt x="417192" y="405945"/>
                    <a:pt x="293594" y="374392"/>
                    <a:pt x="0" y="402586"/>
                  </a:cubicBezTo>
                  <a:lnTo>
                    <a:pt x="0" y="402586"/>
                  </a:lnTo>
                  <a:cubicBezTo>
                    <a:pt x="8541" y="294937"/>
                    <a:pt x="-19623" y="103718"/>
                    <a:pt x="0" y="0"/>
                  </a:cubicBezTo>
                  <a:close/>
                </a:path>
                <a:path w="2232972" h="402586" stroke="0" extrusionOk="0">
                  <a:moveTo>
                    <a:pt x="0" y="0"/>
                  </a:moveTo>
                  <a:lnTo>
                    <a:pt x="0" y="0"/>
                  </a:lnTo>
                  <a:cubicBezTo>
                    <a:pt x="242604" y="-9532"/>
                    <a:pt x="414600" y="-17151"/>
                    <a:pt x="535913" y="0"/>
                  </a:cubicBezTo>
                  <a:cubicBezTo>
                    <a:pt x="657226" y="17151"/>
                    <a:pt x="907053" y="-21676"/>
                    <a:pt x="1027167" y="0"/>
                  </a:cubicBezTo>
                  <a:cubicBezTo>
                    <a:pt x="1147281" y="21676"/>
                    <a:pt x="1506001" y="-16517"/>
                    <a:pt x="1630070" y="0"/>
                  </a:cubicBezTo>
                  <a:cubicBezTo>
                    <a:pt x="1754139" y="16517"/>
                    <a:pt x="2036633" y="-11698"/>
                    <a:pt x="2232972" y="0"/>
                  </a:cubicBezTo>
                  <a:lnTo>
                    <a:pt x="2232972" y="0"/>
                  </a:lnTo>
                  <a:cubicBezTo>
                    <a:pt x="2219488" y="169416"/>
                    <a:pt x="2240019" y="289193"/>
                    <a:pt x="2232972" y="402586"/>
                  </a:cubicBezTo>
                  <a:lnTo>
                    <a:pt x="2232972" y="402586"/>
                  </a:lnTo>
                  <a:cubicBezTo>
                    <a:pt x="1999455" y="420234"/>
                    <a:pt x="1921617" y="381245"/>
                    <a:pt x="1719388" y="402586"/>
                  </a:cubicBezTo>
                  <a:cubicBezTo>
                    <a:pt x="1517159" y="423927"/>
                    <a:pt x="1316657" y="395772"/>
                    <a:pt x="1205805" y="402586"/>
                  </a:cubicBezTo>
                  <a:cubicBezTo>
                    <a:pt x="1094953" y="409400"/>
                    <a:pt x="734157" y="416370"/>
                    <a:pt x="602902" y="402586"/>
                  </a:cubicBezTo>
                  <a:cubicBezTo>
                    <a:pt x="471647" y="388802"/>
                    <a:pt x="171528" y="432641"/>
                    <a:pt x="0" y="402586"/>
                  </a:cubicBezTo>
                  <a:lnTo>
                    <a:pt x="0" y="402586"/>
                  </a:lnTo>
                  <a:cubicBezTo>
                    <a:pt x="10091" y="221488"/>
                    <a:pt x="166" y="108559"/>
                    <a:pt x="0" y="0"/>
                  </a:cubicBezTo>
                  <a:close/>
                </a:path>
              </a:pathLst>
            </a:custGeom>
            <a:solidFill>
              <a:srgbClr val="FAF9F9"/>
            </a:solidFill>
            <a:ln w="3175">
              <a:solidFill>
                <a:srgbClr val="B8B8B8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4" name="Address Bar">
              <a:extLst>
                <a:ext uri="{FF2B5EF4-FFF2-40B4-BE49-F238E27FC236}">
                  <a16:creationId xmlns:a16="http://schemas.microsoft.com/office/drawing/2014/main" id="{EE4AB363-19A4-444F-AB4A-16235C4DF2D0}"/>
                </a:ext>
              </a:extLst>
            </p:cNvPr>
            <p:cNvGrpSpPr/>
            <p:nvPr/>
          </p:nvGrpSpPr>
          <p:grpSpPr>
            <a:xfrm>
              <a:off x="1551469" y="2537917"/>
              <a:ext cx="2063593" cy="200859"/>
              <a:chOff x="1551469" y="2537917"/>
              <a:chExt cx="2063593" cy="200859"/>
            </a:xfrm>
          </p:grpSpPr>
          <p:sp>
            <p:nvSpPr>
              <p:cNvPr id="227" name="Address Bar Placeholder">
                <a:extLst>
                  <a:ext uri="{FF2B5EF4-FFF2-40B4-BE49-F238E27FC236}">
                    <a16:creationId xmlns:a16="http://schemas.microsoft.com/office/drawing/2014/main" id="{19F8E0DE-2C73-4680-9586-F1C22078F8FF}"/>
                  </a:ext>
                </a:extLst>
              </p:cNvPr>
              <p:cNvSpPr/>
              <p:nvPr/>
            </p:nvSpPr>
            <p:spPr>
              <a:xfrm>
                <a:off x="1551469" y="2537917"/>
                <a:ext cx="2063593" cy="200859"/>
              </a:xfrm>
              <a:custGeom>
                <a:avLst/>
                <a:gdLst>
                  <a:gd name="connsiteX0" fmla="*/ 0 w 2063593"/>
                  <a:gd name="connsiteY0" fmla="*/ 33477 h 200859"/>
                  <a:gd name="connsiteX1" fmla="*/ 33477 w 2063593"/>
                  <a:gd name="connsiteY1" fmla="*/ 0 h 200859"/>
                  <a:gd name="connsiteX2" fmla="*/ 718990 w 2063593"/>
                  <a:gd name="connsiteY2" fmla="*/ 0 h 200859"/>
                  <a:gd name="connsiteX3" fmla="*/ 1384536 w 2063593"/>
                  <a:gd name="connsiteY3" fmla="*/ 0 h 200859"/>
                  <a:gd name="connsiteX4" fmla="*/ 2030116 w 2063593"/>
                  <a:gd name="connsiteY4" fmla="*/ 0 h 200859"/>
                  <a:gd name="connsiteX5" fmla="*/ 2063593 w 2063593"/>
                  <a:gd name="connsiteY5" fmla="*/ 33477 h 200859"/>
                  <a:gd name="connsiteX6" fmla="*/ 2063593 w 2063593"/>
                  <a:gd name="connsiteY6" fmla="*/ 167382 h 200859"/>
                  <a:gd name="connsiteX7" fmla="*/ 2030116 w 2063593"/>
                  <a:gd name="connsiteY7" fmla="*/ 200859 h 200859"/>
                  <a:gd name="connsiteX8" fmla="*/ 1344603 w 2063593"/>
                  <a:gd name="connsiteY8" fmla="*/ 200859 h 200859"/>
                  <a:gd name="connsiteX9" fmla="*/ 738956 w 2063593"/>
                  <a:gd name="connsiteY9" fmla="*/ 200859 h 200859"/>
                  <a:gd name="connsiteX10" fmla="*/ 33477 w 2063593"/>
                  <a:gd name="connsiteY10" fmla="*/ 200859 h 200859"/>
                  <a:gd name="connsiteX11" fmla="*/ 0 w 2063593"/>
                  <a:gd name="connsiteY11" fmla="*/ 167382 h 200859"/>
                  <a:gd name="connsiteX12" fmla="*/ 0 w 2063593"/>
                  <a:gd name="connsiteY12" fmla="*/ 33477 h 20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63593" h="200859" fill="none" extrusionOk="0">
                    <a:moveTo>
                      <a:pt x="0" y="33477"/>
                    </a:moveTo>
                    <a:cubicBezTo>
                      <a:pt x="-4028" y="15650"/>
                      <a:pt x="14180" y="-557"/>
                      <a:pt x="33477" y="0"/>
                    </a:cubicBezTo>
                    <a:cubicBezTo>
                      <a:pt x="327232" y="16354"/>
                      <a:pt x="563256" y="25531"/>
                      <a:pt x="718990" y="0"/>
                    </a:cubicBezTo>
                    <a:cubicBezTo>
                      <a:pt x="874724" y="-25531"/>
                      <a:pt x="1249272" y="-12811"/>
                      <a:pt x="1384536" y="0"/>
                    </a:cubicBezTo>
                    <a:cubicBezTo>
                      <a:pt x="1519800" y="12811"/>
                      <a:pt x="1805807" y="-1158"/>
                      <a:pt x="2030116" y="0"/>
                    </a:cubicBezTo>
                    <a:cubicBezTo>
                      <a:pt x="2046373" y="92"/>
                      <a:pt x="2063904" y="14428"/>
                      <a:pt x="2063593" y="33477"/>
                    </a:cubicBezTo>
                    <a:cubicBezTo>
                      <a:pt x="2064905" y="74049"/>
                      <a:pt x="2061901" y="107762"/>
                      <a:pt x="2063593" y="167382"/>
                    </a:cubicBezTo>
                    <a:cubicBezTo>
                      <a:pt x="2064639" y="187941"/>
                      <a:pt x="2047733" y="201319"/>
                      <a:pt x="2030116" y="200859"/>
                    </a:cubicBezTo>
                    <a:cubicBezTo>
                      <a:pt x="1848501" y="230173"/>
                      <a:pt x="1573211" y="175859"/>
                      <a:pt x="1344603" y="200859"/>
                    </a:cubicBezTo>
                    <a:cubicBezTo>
                      <a:pt x="1115995" y="225859"/>
                      <a:pt x="933411" y="207364"/>
                      <a:pt x="738956" y="200859"/>
                    </a:cubicBezTo>
                    <a:cubicBezTo>
                      <a:pt x="544501" y="194354"/>
                      <a:pt x="359529" y="215920"/>
                      <a:pt x="33477" y="200859"/>
                    </a:cubicBezTo>
                    <a:cubicBezTo>
                      <a:pt x="18248" y="202000"/>
                      <a:pt x="873" y="188810"/>
                      <a:pt x="0" y="167382"/>
                    </a:cubicBezTo>
                    <a:cubicBezTo>
                      <a:pt x="-5280" y="131818"/>
                      <a:pt x="4609" y="88914"/>
                      <a:pt x="0" y="33477"/>
                    </a:cubicBezTo>
                    <a:close/>
                  </a:path>
                  <a:path w="2063593" h="200859" stroke="0" extrusionOk="0">
                    <a:moveTo>
                      <a:pt x="0" y="33477"/>
                    </a:moveTo>
                    <a:cubicBezTo>
                      <a:pt x="-816" y="14484"/>
                      <a:pt x="11940" y="1144"/>
                      <a:pt x="33477" y="0"/>
                    </a:cubicBezTo>
                    <a:cubicBezTo>
                      <a:pt x="372115" y="-502"/>
                      <a:pt x="569535" y="19379"/>
                      <a:pt x="738956" y="0"/>
                    </a:cubicBezTo>
                    <a:cubicBezTo>
                      <a:pt x="908377" y="-19379"/>
                      <a:pt x="1093092" y="25059"/>
                      <a:pt x="1384536" y="0"/>
                    </a:cubicBezTo>
                    <a:cubicBezTo>
                      <a:pt x="1675980" y="-25059"/>
                      <a:pt x="1745014" y="-18367"/>
                      <a:pt x="2030116" y="0"/>
                    </a:cubicBezTo>
                    <a:cubicBezTo>
                      <a:pt x="2047982" y="-2008"/>
                      <a:pt x="2064700" y="10890"/>
                      <a:pt x="2063593" y="33477"/>
                    </a:cubicBezTo>
                    <a:cubicBezTo>
                      <a:pt x="2066029" y="78774"/>
                      <a:pt x="2058004" y="115532"/>
                      <a:pt x="2063593" y="167382"/>
                    </a:cubicBezTo>
                    <a:cubicBezTo>
                      <a:pt x="2063452" y="184523"/>
                      <a:pt x="2047555" y="202318"/>
                      <a:pt x="2030116" y="200859"/>
                    </a:cubicBezTo>
                    <a:cubicBezTo>
                      <a:pt x="1810516" y="211454"/>
                      <a:pt x="1692292" y="179922"/>
                      <a:pt x="1404502" y="200859"/>
                    </a:cubicBezTo>
                    <a:cubicBezTo>
                      <a:pt x="1116712" y="221796"/>
                      <a:pt x="1059382" y="200369"/>
                      <a:pt x="738956" y="200859"/>
                    </a:cubicBezTo>
                    <a:cubicBezTo>
                      <a:pt x="418530" y="201349"/>
                      <a:pt x="315099" y="188202"/>
                      <a:pt x="33477" y="200859"/>
                    </a:cubicBezTo>
                    <a:cubicBezTo>
                      <a:pt x="16940" y="198930"/>
                      <a:pt x="2263" y="184412"/>
                      <a:pt x="0" y="167382"/>
                    </a:cubicBezTo>
                    <a:cubicBezTo>
                      <a:pt x="1482" y="124762"/>
                      <a:pt x="-4443" y="82703"/>
                      <a:pt x="0" y="33477"/>
                    </a:cubicBezTo>
                    <a:close/>
                  </a:path>
                </a:pathLst>
              </a:custGeom>
              <a:solidFill>
                <a:srgbClr val="E7E7EA"/>
              </a:solidFill>
              <a:ln>
                <a:solidFill>
                  <a:srgbClr val="E7E7EA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ound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Website Text Placeholder">
                <a:extLst>
                  <a:ext uri="{FF2B5EF4-FFF2-40B4-BE49-F238E27FC236}">
                    <a16:creationId xmlns:a16="http://schemas.microsoft.com/office/drawing/2014/main" id="{42BA083A-D533-4613-AE42-29C82F4DE98D}"/>
                  </a:ext>
                </a:extLst>
              </p:cNvPr>
              <p:cNvSpPr txBox="1"/>
              <p:nvPr/>
            </p:nvSpPr>
            <p:spPr>
              <a:xfrm>
                <a:off x="1924445" y="2579450"/>
                <a:ext cx="1326402" cy="1046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75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.com</a:t>
                </a:r>
              </a:p>
            </p:txBody>
          </p:sp>
          <p:pic>
            <p:nvPicPr>
              <p:cNvPr id="229" name="Refresh Graphic" descr="Refresh">
                <a:extLst>
                  <a:ext uri="{FF2B5EF4-FFF2-40B4-BE49-F238E27FC236}">
                    <a16:creationId xmlns:a16="http://schemas.microsoft.com/office/drawing/2014/main" id="{F5435132-289D-4538-9C23-BB6C24A7F5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8246195">
                <a:off x="3460112" y="2586875"/>
                <a:ext cx="117597" cy="117597"/>
              </a:xfrm>
              <a:prstGeom prst="rect">
                <a:avLst/>
              </a:prstGeom>
            </p:spPr>
          </p:pic>
        </p:grpSp>
        <p:grpSp>
          <p:nvGrpSpPr>
            <p:cNvPr id="187" name="Mobile Header">
              <a:extLst>
                <a:ext uri="{FF2B5EF4-FFF2-40B4-BE49-F238E27FC236}">
                  <a16:creationId xmlns:a16="http://schemas.microsoft.com/office/drawing/2014/main" id="{D5EAED2A-3415-49EB-B754-85EBA7435110}"/>
                </a:ext>
              </a:extLst>
            </p:cNvPr>
            <p:cNvGrpSpPr/>
            <p:nvPr/>
          </p:nvGrpSpPr>
          <p:grpSpPr>
            <a:xfrm>
              <a:off x="1519184" y="2406489"/>
              <a:ext cx="2129699" cy="115185"/>
              <a:chOff x="1519184" y="2406489"/>
              <a:chExt cx="2129699" cy="115185"/>
            </a:xfrm>
          </p:grpSpPr>
          <p:grpSp>
            <p:nvGrpSpPr>
              <p:cNvPr id="217" name="Wifi Graphic">
                <a:extLst>
                  <a:ext uri="{FF2B5EF4-FFF2-40B4-BE49-F238E27FC236}">
                    <a16:creationId xmlns:a16="http://schemas.microsoft.com/office/drawing/2014/main" id="{5E238DF2-233B-4331-A1DF-91F8B74A47D1}"/>
                  </a:ext>
                </a:extLst>
              </p:cNvPr>
              <p:cNvGrpSpPr/>
              <p:nvPr/>
            </p:nvGrpSpPr>
            <p:grpSpPr>
              <a:xfrm>
                <a:off x="1519184" y="2443972"/>
                <a:ext cx="76986" cy="49748"/>
                <a:chOff x="1519184" y="2443972"/>
                <a:chExt cx="76986" cy="49748"/>
              </a:xfrm>
            </p:grpSpPr>
            <p:sp>
              <p:nvSpPr>
                <p:cNvPr id="222" name="Rectangle 4">
                  <a:extLst>
                    <a:ext uri="{FF2B5EF4-FFF2-40B4-BE49-F238E27FC236}">
                      <a16:creationId xmlns:a16="http://schemas.microsoft.com/office/drawing/2014/main" id="{7852605D-248F-4669-B764-2BA3349BC20F}"/>
                    </a:ext>
                  </a:extLst>
                </p:cNvPr>
                <p:cNvSpPr/>
                <p:nvPr/>
              </p:nvSpPr>
              <p:spPr>
                <a:xfrm>
                  <a:off x="1588109" y="2443972"/>
                  <a:ext cx="8061" cy="48368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3" name="Rectangle 3">
                  <a:extLst>
                    <a:ext uri="{FF2B5EF4-FFF2-40B4-BE49-F238E27FC236}">
                      <a16:creationId xmlns:a16="http://schemas.microsoft.com/office/drawing/2014/main" id="{AEFA2F67-C4FA-41C2-B54E-10A4E159B3D2}"/>
                    </a:ext>
                  </a:extLst>
                </p:cNvPr>
                <p:cNvSpPr/>
                <p:nvPr/>
              </p:nvSpPr>
              <p:spPr>
                <a:xfrm>
                  <a:off x="1566245" y="2451826"/>
                  <a:ext cx="8061" cy="40306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5" name="Rectangle 2">
                  <a:extLst>
                    <a:ext uri="{FF2B5EF4-FFF2-40B4-BE49-F238E27FC236}">
                      <a16:creationId xmlns:a16="http://schemas.microsoft.com/office/drawing/2014/main" id="{52F1A0BC-0403-473D-8505-CC4CCC195FA7}"/>
                    </a:ext>
                  </a:extLst>
                </p:cNvPr>
                <p:cNvSpPr/>
                <p:nvPr/>
              </p:nvSpPr>
              <p:spPr>
                <a:xfrm>
                  <a:off x="1542714" y="2461475"/>
                  <a:ext cx="8061" cy="32245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6" name="Rectangle 1">
                  <a:extLst>
                    <a:ext uri="{FF2B5EF4-FFF2-40B4-BE49-F238E27FC236}">
                      <a16:creationId xmlns:a16="http://schemas.microsoft.com/office/drawing/2014/main" id="{53634B12-CA40-4C45-8BA1-CD0CE0BB5EE5}"/>
                    </a:ext>
                  </a:extLst>
                </p:cNvPr>
                <p:cNvSpPr/>
                <p:nvPr/>
              </p:nvSpPr>
              <p:spPr>
                <a:xfrm>
                  <a:off x="1519184" y="2474221"/>
                  <a:ext cx="8061" cy="16123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8" name="Time">
                <a:extLst>
                  <a:ext uri="{FF2B5EF4-FFF2-40B4-BE49-F238E27FC236}">
                    <a16:creationId xmlns:a16="http://schemas.microsoft.com/office/drawing/2014/main" id="{126901D2-1A45-4B2B-8D14-BEC7FFB88200}"/>
                  </a:ext>
                </a:extLst>
              </p:cNvPr>
              <p:cNvSpPr txBox="1"/>
              <p:nvPr/>
            </p:nvSpPr>
            <p:spPr>
              <a:xfrm>
                <a:off x="2432687" y="2427656"/>
                <a:ext cx="315333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8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:15 PM</a:t>
                </a:r>
              </a:p>
            </p:txBody>
          </p:sp>
          <p:sp>
            <p:nvSpPr>
              <p:cNvPr id="219" name="Battery Percentage">
                <a:extLst>
                  <a:ext uri="{FF2B5EF4-FFF2-40B4-BE49-F238E27FC236}">
                    <a16:creationId xmlns:a16="http://schemas.microsoft.com/office/drawing/2014/main" id="{410FC9AC-42D1-41BA-8F9C-CC89A1C61B0E}"/>
                  </a:ext>
                </a:extLst>
              </p:cNvPr>
              <p:cNvSpPr txBox="1"/>
              <p:nvPr/>
            </p:nvSpPr>
            <p:spPr>
              <a:xfrm>
                <a:off x="3371527" y="2430363"/>
                <a:ext cx="132238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18%</a:t>
                </a:r>
              </a:p>
            </p:txBody>
          </p:sp>
          <p:pic>
            <p:nvPicPr>
              <p:cNvPr id="220" name="Signal Graphic" descr="Wi Fi">
                <a:extLst>
                  <a:ext uri="{FF2B5EF4-FFF2-40B4-BE49-F238E27FC236}">
                    <a16:creationId xmlns:a16="http://schemas.microsoft.com/office/drawing/2014/main" id="{3F12347E-DB12-4469-8F8B-0CDA420DDA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605822" y="2406489"/>
                <a:ext cx="108816" cy="108816"/>
              </a:xfrm>
              <a:prstGeom prst="rect">
                <a:avLst/>
              </a:prstGeom>
            </p:spPr>
          </p:pic>
          <p:pic>
            <p:nvPicPr>
              <p:cNvPr id="221" name="Battery Icon" descr="Empty battery">
                <a:extLst>
                  <a:ext uri="{FF2B5EF4-FFF2-40B4-BE49-F238E27FC236}">
                    <a16:creationId xmlns:a16="http://schemas.microsoft.com/office/drawing/2014/main" id="{F4F332B7-A139-4D2F-866F-FE99C6D1B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516646" y="2412857"/>
                <a:ext cx="132237" cy="108817"/>
              </a:xfrm>
              <a:prstGeom prst="rect">
                <a:avLst/>
              </a:prstGeom>
            </p:spPr>
          </p:pic>
        </p:grpSp>
        <p:grpSp>
          <p:nvGrpSpPr>
            <p:cNvPr id="190" name="Mobile Placeholder">
              <a:extLst>
                <a:ext uri="{FF2B5EF4-FFF2-40B4-BE49-F238E27FC236}">
                  <a16:creationId xmlns:a16="http://schemas.microsoft.com/office/drawing/2014/main" id="{9389A146-2D5A-4350-A1D7-91BB3442082E}"/>
                </a:ext>
              </a:extLst>
            </p:cNvPr>
            <p:cNvGrpSpPr/>
            <p:nvPr/>
          </p:nvGrpSpPr>
          <p:grpSpPr>
            <a:xfrm>
              <a:off x="1357224" y="2005431"/>
              <a:ext cx="2449955" cy="4490624"/>
              <a:chOff x="2633629" y="2629128"/>
              <a:chExt cx="1135777" cy="2228569"/>
            </a:xfrm>
          </p:grpSpPr>
          <p:sp>
            <p:nvSpPr>
              <p:cNvPr id="191" name="Mobile Device Body and Screen">
                <a:extLst>
                  <a:ext uri="{FF2B5EF4-FFF2-40B4-BE49-F238E27FC236}">
                    <a16:creationId xmlns:a16="http://schemas.microsoft.com/office/drawing/2014/main" id="{16460CB7-F80D-471F-86DC-EA4E1910FE31}"/>
                  </a:ext>
                </a:extLst>
              </p:cNvPr>
              <p:cNvSpPr/>
              <p:nvPr/>
            </p:nvSpPr>
            <p:spPr>
              <a:xfrm>
                <a:off x="2649723" y="2629583"/>
                <a:ext cx="1102071" cy="2228114"/>
              </a:xfrm>
              <a:custGeom>
                <a:avLst/>
                <a:gdLst>
                  <a:gd name="connsiteX0" fmla="*/ 40280 w 1102071"/>
                  <a:gd name="connsiteY0" fmla="*/ 199535 h 2228114"/>
                  <a:gd name="connsiteX1" fmla="*/ 40280 w 1102071"/>
                  <a:gd name="connsiteY1" fmla="*/ 1992572 h 2228114"/>
                  <a:gd name="connsiteX2" fmla="*/ 1061792 w 1102071"/>
                  <a:gd name="connsiteY2" fmla="*/ 1992572 h 2228114"/>
                  <a:gd name="connsiteX3" fmla="*/ 1061792 w 1102071"/>
                  <a:gd name="connsiteY3" fmla="*/ 199535 h 2228114"/>
                  <a:gd name="connsiteX4" fmla="*/ 152483 w 1102071"/>
                  <a:gd name="connsiteY4" fmla="*/ 0 h 2228114"/>
                  <a:gd name="connsiteX5" fmla="*/ 949588 w 1102071"/>
                  <a:gd name="connsiteY5" fmla="*/ 0 h 2228114"/>
                  <a:gd name="connsiteX6" fmla="*/ 1102071 w 1102071"/>
                  <a:gd name="connsiteY6" fmla="*/ 152483 h 2228114"/>
                  <a:gd name="connsiteX7" fmla="*/ 1102071 w 1102071"/>
                  <a:gd name="connsiteY7" fmla="*/ 2075631 h 2228114"/>
                  <a:gd name="connsiteX8" fmla="*/ 949588 w 1102071"/>
                  <a:gd name="connsiteY8" fmla="*/ 2228114 h 2228114"/>
                  <a:gd name="connsiteX9" fmla="*/ 152483 w 1102071"/>
                  <a:gd name="connsiteY9" fmla="*/ 2228114 h 2228114"/>
                  <a:gd name="connsiteX10" fmla="*/ 0 w 1102071"/>
                  <a:gd name="connsiteY10" fmla="*/ 2075631 h 2228114"/>
                  <a:gd name="connsiteX11" fmla="*/ 0 w 1102071"/>
                  <a:gd name="connsiteY11" fmla="*/ 152483 h 2228114"/>
                  <a:gd name="connsiteX12" fmla="*/ 152483 w 1102071"/>
                  <a:gd name="connsiteY12" fmla="*/ 0 h 222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071" h="2228114">
                    <a:moveTo>
                      <a:pt x="40280" y="199535"/>
                    </a:moveTo>
                    <a:lnTo>
                      <a:pt x="40280" y="1992572"/>
                    </a:lnTo>
                    <a:lnTo>
                      <a:pt x="1061792" y="1992572"/>
                    </a:lnTo>
                    <a:lnTo>
                      <a:pt x="1061792" y="199535"/>
                    </a:lnTo>
                    <a:close/>
                    <a:moveTo>
                      <a:pt x="152483" y="0"/>
                    </a:moveTo>
                    <a:lnTo>
                      <a:pt x="949588" y="0"/>
                    </a:lnTo>
                    <a:cubicBezTo>
                      <a:pt x="1033802" y="0"/>
                      <a:pt x="1102071" y="68269"/>
                      <a:pt x="1102071" y="152483"/>
                    </a:cubicBezTo>
                    <a:lnTo>
                      <a:pt x="1102071" y="2075631"/>
                    </a:lnTo>
                    <a:cubicBezTo>
                      <a:pt x="1102071" y="2159845"/>
                      <a:pt x="1033802" y="2228114"/>
                      <a:pt x="949588" y="2228114"/>
                    </a:cubicBezTo>
                    <a:lnTo>
                      <a:pt x="152483" y="2228114"/>
                    </a:lnTo>
                    <a:cubicBezTo>
                      <a:pt x="68269" y="2228114"/>
                      <a:pt x="0" y="2159845"/>
                      <a:pt x="0" y="2075631"/>
                    </a:cubicBezTo>
                    <a:lnTo>
                      <a:pt x="0" y="152483"/>
                    </a:lnTo>
                    <a:cubicBezTo>
                      <a:pt x="0" y="68269"/>
                      <a:pt x="68269" y="0"/>
                      <a:pt x="15248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Mobile Home Button">
                <a:extLst>
                  <a:ext uri="{FF2B5EF4-FFF2-40B4-BE49-F238E27FC236}">
                    <a16:creationId xmlns:a16="http://schemas.microsoft.com/office/drawing/2014/main" id="{9DB76C2C-DEE8-461F-ADA6-4AC2593ADB86}"/>
                  </a:ext>
                </a:extLst>
              </p:cNvPr>
              <p:cNvSpPr/>
              <p:nvPr/>
            </p:nvSpPr>
            <p:spPr>
              <a:xfrm>
                <a:off x="3091364" y="4689451"/>
                <a:ext cx="218789" cy="107255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Rounded Rectangle 1">
                <a:extLst>
                  <a:ext uri="{FF2B5EF4-FFF2-40B4-BE49-F238E27FC236}">
                    <a16:creationId xmlns:a16="http://schemas.microsoft.com/office/drawing/2014/main" id="{31958670-B301-44E8-9C2D-285E3581778A}"/>
                  </a:ext>
                </a:extLst>
              </p:cNvPr>
              <p:cNvSpPr/>
              <p:nvPr/>
            </p:nvSpPr>
            <p:spPr>
              <a:xfrm>
                <a:off x="3111615" y="2716500"/>
                <a:ext cx="177522" cy="26474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Oval 3">
                <a:extLst>
                  <a:ext uri="{FF2B5EF4-FFF2-40B4-BE49-F238E27FC236}">
                    <a16:creationId xmlns:a16="http://schemas.microsoft.com/office/drawing/2014/main" id="{81FFA3DC-9A86-4395-A139-D405B4415F56}"/>
                  </a:ext>
                </a:extLst>
              </p:cNvPr>
              <p:cNvSpPr/>
              <p:nvPr/>
            </p:nvSpPr>
            <p:spPr>
              <a:xfrm flipH="1">
                <a:off x="3352328" y="2714956"/>
                <a:ext cx="31884" cy="31884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Oval 2">
                <a:extLst>
                  <a:ext uri="{FF2B5EF4-FFF2-40B4-BE49-F238E27FC236}">
                    <a16:creationId xmlns:a16="http://schemas.microsoft.com/office/drawing/2014/main" id="{5A9FE67B-66C1-4457-B923-F75732CC7E20}"/>
                  </a:ext>
                </a:extLst>
              </p:cNvPr>
              <p:cNvSpPr/>
              <p:nvPr/>
            </p:nvSpPr>
            <p:spPr>
              <a:xfrm>
                <a:off x="29988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Oval 1">
                <a:extLst>
                  <a:ext uri="{FF2B5EF4-FFF2-40B4-BE49-F238E27FC236}">
                    <a16:creationId xmlns:a16="http://schemas.microsoft.com/office/drawing/2014/main" id="{17C3499F-9D65-4D8F-89EC-3AFD6A1964E0}"/>
                  </a:ext>
                </a:extLst>
              </p:cNvPr>
              <p:cNvSpPr/>
              <p:nvPr/>
            </p:nvSpPr>
            <p:spPr>
              <a:xfrm>
                <a:off x="28640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Mobile Button 3">
                <a:extLst>
                  <a:ext uri="{FF2B5EF4-FFF2-40B4-BE49-F238E27FC236}">
                    <a16:creationId xmlns:a16="http://schemas.microsoft.com/office/drawing/2014/main" id="{1EB584CC-C64B-4E84-9516-0F2848CDE869}"/>
                  </a:ext>
                </a:extLst>
              </p:cNvPr>
              <p:cNvSpPr/>
              <p:nvPr/>
            </p:nvSpPr>
            <p:spPr>
              <a:xfrm>
                <a:off x="2633630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Mobile Button 2">
                <a:extLst>
                  <a:ext uri="{FF2B5EF4-FFF2-40B4-BE49-F238E27FC236}">
                    <a16:creationId xmlns:a16="http://schemas.microsoft.com/office/drawing/2014/main" id="{65DB9D33-E62F-489D-AEBB-163B1FC8ACEA}"/>
                  </a:ext>
                </a:extLst>
              </p:cNvPr>
              <p:cNvSpPr/>
              <p:nvPr/>
            </p:nvSpPr>
            <p:spPr>
              <a:xfrm>
                <a:off x="2633629" y="3282770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Mobile Button 1">
                <a:extLst>
                  <a:ext uri="{FF2B5EF4-FFF2-40B4-BE49-F238E27FC236}">
                    <a16:creationId xmlns:a16="http://schemas.microsoft.com/office/drawing/2014/main" id="{69063770-8FB7-458F-AFD7-0D7F90701EAD}"/>
                  </a:ext>
                </a:extLst>
              </p:cNvPr>
              <p:cNvSpPr/>
              <p:nvPr/>
            </p:nvSpPr>
            <p:spPr>
              <a:xfrm>
                <a:off x="3753504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Mobile Device Outline">
                <a:extLst>
                  <a:ext uri="{FF2B5EF4-FFF2-40B4-BE49-F238E27FC236}">
                    <a16:creationId xmlns:a16="http://schemas.microsoft.com/office/drawing/2014/main" id="{86E48A58-07EE-40F2-95FF-5AAB5C67CA6C}"/>
                  </a:ext>
                </a:extLst>
              </p:cNvPr>
              <p:cNvSpPr/>
              <p:nvPr/>
            </p:nvSpPr>
            <p:spPr>
              <a:xfrm>
                <a:off x="2650578" y="2629128"/>
                <a:ext cx="1102071" cy="2228114"/>
              </a:xfrm>
              <a:prstGeom prst="roundRect">
                <a:avLst>
                  <a:gd name="adj" fmla="val 1383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6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512E30CB-5AC4-49B9-AA9F-19D26723B30C}"/>
              </a:ext>
            </a:extLst>
          </p:cNvPr>
          <p:cNvGrpSpPr/>
          <p:nvPr/>
        </p:nvGrpSpPr>
        <p:grpSpPr>
          <a:xfrm>
            <a:off x="3383149" y="3233948"/>
            <a:ext cx="2756559" cy="1363417"/>
            <a:chOff x="-5326399" y="1380314"/>
            <a:chExt cx="1228382" cy="622836"/>
          </a:xfrm>
        </p:grpSpPr>
        <p:sp>
          <p:nvSpPr>
            <p:cNvPr id="97" name="Rectangle 5">
              <a:extLst>
                <a:ext uri="{FF2B5EF4-FFF2-40B4-BE49-F238E27FC236}">
                  <a16:creationId xmlns:a16="http://schemas.microsoft.com/office/drawing/2014/main" id="{B42A0076-D040-4937-8B46-68C06773144D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228381"/>
                <a:gd name="connsiteY0" fmla="*/ 0 h 64008"/>
                <a:gd name="connsiteX1" fmla="*/ 614191 w 1228381"/>
                <a:gd name="connsiteY1" fmla="*/ 0 h 64008"/>
                <a:gd name="connsiteX2" fmla="*/ 1228381 w 1228381"/>
                <a:gd name="connsiteY2" fmla="*/ 0 h 64008"/>
                <a:gd name="connsiteX3" fmla="*/ 1228381 w 1228381"/>
                <a:gd name="connsiteY3" fmla="*/ 64008 h 64008"/>
                <a:gd name="connsiteX4" fmla="*/ 589623 w 1228381"/>
                <a:gd name="connsiteY4" fmla="*/ 64008 h 64008"/>
                <a:gd name="connsiteX5" fmla="*/ 0 w 1228381"/>
                <a:gd name="connsiteY5" fmla="*/ 64008 h 64008"/>
                <a:gd name="connsiteX6" fmla="*/ 0 w 1228381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8381" h="64008" fill="none" extrusionOk="0">
                  <a:moveTo>
                    <a:pt x="0" y="0"/>
                  </a:moveTo>
                  <a:cubicBezTo>
                    <a:pt x="165142" y="-26428"/>
                    <a:pt x="313313" y="-27854"/>
                    <a:pt x="614191" y="0"/>
                  </a:cubicBezTo>
                  <a:cubicBezTo>
                    <a:pt x="915069" y="27854"/>
                    <a:pt x="997070" y="-23687"/>
                    <a:pt x="1228381" y="0"/>
                  </a:cubicBezTo>
                  <a:cubicBezTo>
                    <a:pt x="1231048" y="27787"/>
                    <a:pt x="1228947" y="42632"/>
                    <a:pt x="1228381" y="64008"/>
                  </a:cubicBezTo>
                  <a:cubicBezTo>
                    <a:pt x="922052" y="77269"/>
                    <a:pt x="869818" y="72455"/>
                    <a:pt x="589623" y="64008"/>
                  </a:cubicBezTo>
                  <a:cubicBezTo>
                    <a:pt x="309428" y="55561"/>
                    <a:pt x="127275" y="82096"/>
                    <a:pt x="0" y="64008"/>
                  </a:cubicBezTo>
                  <a:cubicBezTo>
                    <a:pt x="279" y="44606"/>
                    <a:pt x="-934" y="25820"/>
                    <a:pt x="0" y="0"/>
                  </a:cubicBezTo>
                  <a:close/>
                </a:path>
                <a:path w="1228381" h="64008" stroke="0" extrusionOk="0">
                  <a:moveTo>
                    <a:pt x="0" y="0"/>
                  </a:moveTo>
                  <a:cubicBezTo>
                    <a:pt x="167411" y="-22089"/>
                    <a:pt x="426488" y="1143"/>
                    <a:pt x="626474" y="0"/>
                  </a:cubicBezTo>
                  <a:cubicBezTo>
                    <a:pt x="826460" y="-1143"/>
                    <a:pt x="959873" y="19830"/>
                    <a:pt x="1228381" y="0"/>
                  </a:cubicBezTo>
                  <a:cubicBezTo>
                    <a:pt x="1225713" y="24987"/>
                    <a:pt x="1227770" y="51127"/>
                    <a:pt x="1228381" y="64008"/>
                  </a:cubicBezTo>
                  <a:cubicBezTo>
                    <a:pt x="964899" y="41709"/>
                    <a:pt x="898730" y="60030"/>
                    <a:pt x="589623" y="64008"/>
                  </a:cubicBezTo>
                  <a:cubicBezTo>
                    <a:pt x="280516" y="67986"/>
                    <a:pt x="166407" y="35384"/>
                    <a:pt x="0" y="64008"/>
                  </a:cubicBezTo>
                  <a:cubicBezTo>
                    <a:pt x="-1646" y="44721"/>
                    <a:pt x="1257" y="167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tangle 4">
              <a:extLst>
                <a:ext uri="{FF2B5EF4-FFF2-40B4-BE49-F238E27FC236}">
                  <a16:creationId xmlns:a16="http://schemas.microsoft.com/office/drawing/2014/main" id="{CFFEF28E-7271-4218-804C-7F0AA77F37E0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156123"/>
                <a:gd name="connsiteY0" fmla="*/ 0 h 64008"/>
                <a:gd name="connsiteX1" fmla="*/ 601184 w 1156123"/>
                <a:gd name="connsiteY1" fmla="*/ 0 h 64008"/>
                <a:gd name="connsiteX2" fmla="*/ 1156123 w 1156123"/>
                <a:gd name="connsiteY2" fmla="*/ 0 h 64008"/>
                <a:gd name="connsiteX3" fmla="*/ 1156123 w 1156123"/>
                <a:gd name="connsiteY3" fmla="*/ 64008 h 64008"/>
                <a:gd name="connsiteX4" fmla="*/ 566500 w 1156123"/>
                <a:gd name="connsiteY4" fmla="*/ 64008 h 64008"/>
                <a:gd name="connsiteX5" fmla="*/ 0 w 1156123"/>
                <a:gd name="connsiteY5" fmla="*/ 64008 h 64008"/>
                <a:gd name="connsiteX6" fmla="*/ 0 w 1156123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123" h="64008" fill="none" extrusionOk="0">
                  <a:moveTo>
                    <a:pt x="0" y="0"/>
                  </a:moveTo>
                  <a:cubicBezTo>
                    <a:pt x="138334" y="-18225"/>
                    <a:pt x="313638" y="20190"/>
                    <a:pt x="601184" y="0"/>
                  </a:cubicBezTo>
                  <a:cubicBezTo>
                    <a:pt x="888730" y="-20190"/>
                    <a:pt x="1032926" y="14422"/>
                    <a:pt x="1156123" y="0"/>
                  </a:cubicBezTo>
                  <a:cubicBezTo>
                    <a:pt x="1157324" y="16741"/>
                    <a:pt x="1153679" y="41845"/>
                    <a:pt x="1156123" y="64008"/>
                  </a:cubicBezTo>
                  <a:cubicBezTo>
                    <a:pt x="916827" y="39633"/>
                    <a:pt x="766170" y="43302"/>
                    <a:pt x="566500" y="64008"/>
                  </a:cubicBezTo>
                  <a:cubicBezTo>
                    <a:pt x="366830" y="84714"/>
                    <a:pt x="154499" y="76833"/>
                    <a:pt x="0" y="64008"/>
                  </a:cubicBezTo>
                  <a:cubicBezTo>
                    <a:pt x="1422" y="39840"/>
                    <a:pt x="2711" y="23338"/>
                    <a:pt x="0" y="0"/>
                  </a:cubicBezTo>
                  <a:close/>
                </a:path>
                <a:path w="1156123" h="64008" stroke="0" extrusionOk="0">
                  <a:moveTo>
                    <a:pt x="0" y="0"/>
                  </a:moveTo>
                  <a:cubicBezTo>
                    <a:pt x="166219" y="-22033"/>
                    <a:pt x="353438" y="27318"/>
                    <a:pt x="554939" y="0"/>
                  </a:cubicBezTo>
                  <a:cubicBezTo>
                    <a:pt x="756440" y="-27318"/>
                    <a:pt x="952613" y="-20057"/>
                    <a:pt x="1156123" y="0"/>
                  </a:cubicBezTo>
                  <a:cubicBezTo>
                    <a:pt x="1155374" y="20271"/>
                    <a:pt x="1158168" y="49605"/>
                    <a:pt x="1156123" y="64008"/>
                  </a:cubicBezTo>
                  <a:cubicBezTo>
                    <a:pt x="901980" y="83371"/>
                    <a:pt x="716074" y="68995"/>
                    <a:pt x="566500" y="64008"/>
                  </a:cubicBezTo>
                  <a:cubicBezTo>
                    <a:pt x="416926" y="59021"/>
                    <a:pt x="195891" y="79443"/>
                    <a:pt x="0" y="64008"/>
                  </a:cubicBezTo>
                  <a:cubicBezTo>
                    <a:pt x="2854" y="41256"/>
                    <a:pt x="2167" y="1843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tangle 3">
              <a:extLst>
                <a:ext uri="{FF2B5EF4-FFF2-40B4-BE49-F238E27FC236}">
                  <a16:creationId xmlns:a16="http://schemas.microsoft.com/office/drawing/2014/main" id="{E53D44B8-9921-4CBD-9BFE-E5322710719D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932688"/>
                <a:gd name="connsiteY0" fmla="*/ 0 h 64008"/>
                <a:gd name="connsiteX1" fmla="*/ 475671 w 932688"/>
                <a:gd name="connsiteY1" fmla="*/ 0 h 64008"/>
                <a:gd name="connsiteX2" fmla="*/ 932688 w 932688"/>
                <a:gd name="connsiteY2" fmla="*/ 0 h 64008"/>
                <a:gd name="connsiteX3" fmla="*/ 932688 w 932688"/>
                <a:gd name="connsiteY3" fmla="*/ 64008 h 64008"/>
                <a:gd name="connsiteX4" fmla="*/ 447690 w 932688"/>
                <a:gd name="connsiteY4" fmla="*/ 64008 h 64008"/>
                <a:gd name="connsiteX5" fmla="*/ 0 w 932688"/>
                <a:gd name="connsiteY5" fmla="*/ 64008 h 64008"/>
                <a:gd name="connsiteX6" fmla="*/ 0 w 93268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2688" h="64008" fill="none" extrusionOk="0">
                  <a:moveTo>
                    <a:pt x="0" y="0"/>
                  </a:moveTo>
                  <a:cubicBezTo>
                    <a:pt x="109317" y="3578"/>
                    <a:pt x="347583" y="22913"/>
                    <a:pt x="475671" y="0"/>
                  </a:cubicBezTo>
                  <a:cubicBezTo>
                    <a:pt x="603759" y="-22913"/>
                    <a:pt x="760272" y="8236"/>
                    <a:pt x="932688" y="0"/>
                  </a:cubicBezTo>
                  <a:cubicBezTo>
                    <a:pt x="932471" y="28692"/>
                    <a:pt x="934511" y="49533"/>
                    <a:pt x="932688" y="64008"/>
                  </a:cubicBezTo>
                  <a:cubicBezTo>
                    <a:pt x="735398" y="61622"/>
                    <a:pt x="633287" y="49920"/>
                    <a:pt x="447690" y="64008"/>
                  </a:cubicBezTo>
                  <a:cubicBezTo>
                    <a:pt x="262093" y="78096"/>
                    <a:pt x="98017" y="51756"/>
                    <a:pt x="0" y="64008"/>
                  </a:cubicBezTo>
                  <a:cubicBezTo>
                    <a:pt x="-1284" y="37907"/>
                    <a:pt x="510" y="23488"/>
                    <a:pt x="0" y="0"/>
                  </a:cubicBezTo>
                  <a:close/>
                </a:path>
                <a:path w="932688" h="64008" stroke="0" extrusionOk="0">
                  <a:moveTo>
                    <a:pt x="0" y="0"/>
                  </a:moveTo>
                  <a:cubicBezTo>
                    <a:pt x="200156" y="19546"/>
                    <a:pt x="294544" y="-7345"/>
                    <a:pt x="447690" y="0"/>
                  </a:cubicBezTo>
                  <a:cubicBezTo>
                    <a:pt x="600836" y="7345"/>
                    <a:pt x="738317" y="18659"/>
                    <a:pt x="932688" y="0"/>
                  </a:cubicBezTo>
                  <a:cubicBezTo>
                    <a:pt x="930798" y="18002"/>
                    <a:pt x="934551" y="37102"/>
                    <a:pt x="932688" y="64008"/>
                  </a:cubicBezTo>
                  <a:cubicBezTo>
                    <a:pt x="742216" y="82812"/>
                    <a:pt x="616855" y="63230"/>
                    <a:pt x="457017" y="64008"/>
                  </a:cubicBezTo>
                  <a:cubicBezTo>
                    <a:pt x="297179" y="64786"/>
                    <a:pt x="180098" y="47449"/>
                    <a:pt x="0" y="64008"/>
                  </a:cubicBezTo>
                  <a:cubicBezTo>
                    <a:pt x="-80" y="37080"/>
                    <a:pt x="3083" y="147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ctangle 2">
              <a:extLst>
                <a:ext uri="{FF2B5EF4-FFF2-40B4-BE49-F238E27FC236}">
                  <a16:creationId xmlns:a16="http://schemas.microsoft.com/office/drawing/2014/main" id="{7555AD21-E6F5-4A44-A856-A7F48C6CF1B2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011608"/>
                <a:gd name="connsiteY0" fmla="*/ 0 h 64008"/>
                <a:gd name="connsiteX1" fmla="*/ 475456 w 1011608"/>
                <a:gd name="connsiteY1" fmla="*/ 0 h 64008"/>
                <a:gd name="connsiteX2" fmla="*/ 1011608 w 1011608"/>
                <a:gd name="connsiteY2" fmla="*/ 0 h 64008"/>
                <a:gd name="connsiteX3" fmla="*/ 1011608 w 1011608"/>
                <a:gd name="connsiteY3" fmla="*/ 64008 h 64008"/>
                <a:gd name="connsiteX4" fmla="*/ 495688 w 1011608"/>
                <a:gd name="connsiteY4" fmla="*/ 64008 h 64008"/>
                <a:gd name="connsiteX5" fmla="*/ 0 w 1011608"/>
                <a:gd name="connsiteY5" fmla="*/ 64008 h 64008"/>
                <a:gd name="connsiteX6" fmla="*/ 0 w 101160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1608" h="64008" fill="none" extrusionOk="0">
                  <a:moveTo>
                    <a:pt x="0" y="0"/>
                  </a:moveTo>
                  <a:cubicBezTo>
                    <a:pt x="197554" y="-21691"/>
                    <a:pt x="380014" y="-11599"/>
                    <a:pt x="475456" y="0"/>
                  </a:cubicBezTo>
                  <a:cubicBezTo>
                    <a:pt x="570898" y="11599"/>
                    <a:pt x="782937" y="-5214"/>
                    <a:pt x="1011608" y="0"/>
                  </a:cubicBezTo>
                  <a:cubicBezTo>
                    <a:pt x="1011841" y="15641"/>
                    <a:pt x="1009721" y="34909"/>
                    <a:pt x="1011608" y="64008"/>
                  </a:cubicBezTo>
                  <a:cubicBezTo>
                    <a:pt x="779116" y="85202"/>
                    <a:pt x="615303" y="78058"/>
                    <a:pt x="495688" y="64008"/>
                  </a:cubicBezTo>
                  <a:cubicBezTo>
                    <a:pt x="376073" y="49958"/>
                    <a:pt x="140136" y="47640"/>
                    <a:pt x="0" y="64008"/>
                  </a:cubicBezTo>
                  <a:cubicBezTo>
                    <a:pt x="3173" y="46995"/>
                    <a:pt x="-2625" y="25867"/>
                    <a:pt x="0" y="0"/>
                  </a:cubicBezTo>
                  <a:close/>
                </a:path>
                <a:path w="1011608" h="64008" stroke="0" extrusionOk="0">
                  <a:moveTo>
                    <a:pt x="0" y="0"/>
                  </a:moveTo>
                  <a:cubicBezTo>
                    <a:pt x="187624" y="-17970"/>
                    <a:pt x="388346" y="13916"/>
                    <a:pt x="485572" y="0"/>
                  </a:cubicBezTo>
                  <a:cubicBezTo>
                    <a:pt x="582798" y="-13916"/>
                    <a:pt x="756689" y="9945"/>
                    <a:pt x="1011608" y="0"/>
                  </a:cubicBezTo>
                  <a:cubicBezTo>
                    <a:pt x="1009361" y="30074"/>
                    <a:pt x="1012688" y="42635"/>
                    <a:pt x="1011608" y="64008"/>
                  </a:cubicBezTo>
                  <a:cubicBezTo>
                    <a:pt x="854532" y="57458"/>
                    <a:pt x="733233" y="54927"/>
                    <a:pt x="505804" y="64008"/>
                  </a:cubicBezTo>
                  <a:cubicBezTo>
                    <a:pt x="278375" y="73089"/>
                    <a:pt x="130855" y="42822"/>
                    <a:pt x="0" y="64008"/>
                  </a:cubicBezTo>
                  <a:cubicBezTo>
                    <a:pt x="-3178" y="36820"/>
                    <a:pt x="-2722" y="28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tangle 1">
              <a:extLst>
                <a:ext uri="{FF2B5EF4-FFF2-40B4-BE49-F238E27FC236}">
                  <a16:creationId xmlns:a16="http://schemas.microsoft.com/office/drawing/2014/main" id="{02B0C9E4-CB2F-47FF-892D-DF6F62EBF7DA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869092"/>
                <a:gd name="connsiteY0" fmla="*/ 0 h 64008"/>
                <a:gd name="connsiteX1" fmla="*/ 451928 w 869092"/>
                <a:gd name="connsiteY1" fmla="*/ 0 h 64008"/>
                <a:gd name="connsiteX2" fmla="*/ 869092 w 869092"/>
                <a:gd name="connsiteY2" fmla="*/ 0 h 64008"/>
                <a:gd name="connsiteX3" fmla="*/ 869092 w 869092"/>
                <a:gd name="connsiteY3" fmla="*/ 64008 h 64008"/>
                <a:gd name="connsiteX4" fmla="*/ 443237 w 869092"/>
                <a:gd name="connsiteY4" fmla="*/ 64008 h 64008"/>
                <a:gd name="connsiteX5" fmla="*/ 0 w 869092"/>
                <a:gd name="connsiteY5" fmla="*/ 64008 h 64008"/>
                <a:gd name="connsiteX6" fmla="*/ 0 w 869092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092" h="64008" fill="none" extrusionOk="0">
                  <a:moveTo>
                    <a:pt x="0" y="0"/>
                  </a:moveTo>
                  <a:cubicBezTo>
                    <a:pt x="109012" y="18379"/>
                    <a:pt x="348535" y="-18141"/>
                    <a:pt x="451928" y="0"/>
                  </a:cubicBezTo>
                  <a:cubicBezTo>
                    <a:pt x="555321" y="18141"/>
                    <a:pt x="748048" y="-6654"/>
                    <a:pt x="869092" y="0"/>
                  </a:cubicBezTo>
                  <a:cubicBezTo>
                    <a:pt x="872239" y="21123"/>
                    <a:pt x="867620" y="35558"/>
                    <a:pt x="869092" y="64008"/>
                  </a:cubicBezTo>
                  <a:cubicBezTo>
                    <a:pt x="682938" y="74288"/>
                    <a:pt x="584473" y="51890"/>
                    <a:pt x="443237" y="64008"/>
                  </a:cubicBezTo>
                  <a:cubicBezTo>
                    <a:pt x="302002" y="76126"/>
                    <a:pt x="150286" y="50849"/>
                    <a:pt x="0" y="64008"/>
                  </a:cubicBezTo>
                  <a:cubicBezTo>
                    <a:pt x="-2411" y="33843"/>
                    <a:pt x="1447" y="23221"/>
                    <a:pt x="0" y="0"/>
                  </a:cubicBezTo>
                  <a:close/>
                </a:path>
                <a:path w="869092" h="64008" stroke="0" extrusionOk="0">
                  <a:moveTo>
                    <a:pt x="0" y="0"/>
                  </a:moveTo>
                  <a:cubicBezTo>
                    <a:pt x="154071" y="-18764"/>
                    <a:pt x="254687" y="20448"/>
                    <a:pt x="425855" y="0"/>
                  </a:cubicBezTo>
                  <a:cubicBezTo>
                    <a:pt x="597023" y="-20448"/>
                    <a:pt x="739597" y="3820"/>
                    <a:pt x="869092" y="0"/>
                  </a:cubicBezTo>
                  <a:cubicBezTo>
                    <a:pt x="870588" y="25188"/>
                    <a:pt x="869529" y="50929"/>
                    <a:pt x="869092" y="64008"/>
                  </a:cubicBezTo>
                  <a:cubicBezTo>
                    <a:pt x="728868" y="65134"/>
                    <a:pt x="620845" y="85554"/>
                    <a:pt x="434546" y="64008"/>
                  </a:cubicBezTo>
                  <a:cubicBezTo>
                    <a:pt x="248247" y="42462"/>
                    <a:pt x="134031" y="80743"/>
                    <a:pt x="0" y="64008"/>
                  </a:cubicBezTo>
                  <a:cubicBezTo>
                    <a:pt x="-2503" y="44586"/>
                    <a:pt x="3172" y="2066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6" name="Placeholder Text 1">
            <a:extLst>
              <a:ext uri="{FF2B5EF4-FFF2-40B4-BE49-F238E27FC236}">
                <a16:creationId xmlns:a16="http://schemas.microsoft.com/office/drawing/2014/main" id="{6D886072-5B6E-4417-925E-E87A4E46E787}"/>
              </a:ext>
            </a:extLst>
          </p:cNvPr>
          <p:cNvSpPr txBox="1"/>
          <p:nvPr/>
        </p:nvSpPr>
        <p:spPr>
          <a:xfrm>
            <a:off x="3280287" y="4839864"/>
            <a:ext cx="29498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n the left will be a table which is representative of the JSON file. The text is there to provide a link to the data source along with an explanation on how the key : value pairs will be used for the visualizations.</a:t>
            </a:r>
          </a:p>
        </p:txBody>
      </p:sp>
      <p:grpSp>
        <p:nvGrpSpPr>
          <p:cNvPr id="127" name="Filled Picture Placeholder 3" descr="Picture placeholder 3">
            <a:extLst>
              <a:ext uri="{FF2B5EF4-FFF2-40B4-BE49-F238E27FC236}">
                <a16:creationId xmlns:a16="http://schemas.microsoft.com/office/drawing/2014/main" id="{93E3D8AE-12D2-4F5A-8970-B2CE6C879DF7}"/>
              </a:ext>
            </a:extLst>
          </p:cNvPr>
          <p:cNvGrpSpPr/>
          <p:nvPr/>
        </p:nvGrpSpPr>
        <p:grpSpPr>
          <a:xfrm>
            <a:off x="700273" y="3233947"/>
            <a:ext cx="2307748" cy="1363417"/>
            <a:chOff x="7281490" y="8160201"/>
            <a:chExt cx="926293" cy="555948"/>
          </a:xfrm>
        </p:grpSpPr>
        <p:sp>
          <p:nvSpPr>
            <p:cNvPr id="128" name="Picture Placeholder">
              <a:extLst>
                <a:ext uri="{FF2B5EF4-FFF2-40B4-BE49-F238E27FC236}">
                  <a16:creationId xmlns:a16="http://schemas.microsoft.com/office/drawing/2014/main" id="{FD8D06A8-DA25-4E71-999C-2F1487BFDCBB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926293"/>
                <a:gd name="connsiteY0" fmla="*/ 6866 h 555948"/>
                <a:gd name="connsiteX1" fmla="*/ 6866 w 926293"/>
                <a:gd name="connsiteY1" fmla="*/ 0 h 555948"/>
                <a:gd name="connsiteX2" fmla="*/ 463147 w 926293"/>
                <a:gd name="connsiteY2" fmla="*/ 0 h 555948"/>
                <a:gd name="connsiteX3" fmla="*/ 919427 w 926293"/>
                <a:gd name="connsiteY3" fmla="*/ 0 h 555948"/>
                <a:gd name="connsiteX4" fmla="*/ 926293 w 926293"/>
                <a:gd name="connsiteY4" fmla="*/ 6866 h 555948"/>
                <a:gd name="connsiteX5" fmla="*/ 926293 w 926293"/>
                <a:gd name="connsiteY5" fmla="*/ 549082 h 555948"/>
                <a:gd name="connsiteX6" fmla="*/ 919427 w 926293"/>
                <a:gd name="connsiteY6" fmla="*/ 555948 h 555948"/>
                <a:gd name="connsiteX7" fmla="*/ 463147 w 926293"/>
                <a:gd name="connsiteY7" fmla="*/ 555948 h 555948"/>
                <a:gd name="connsiteX8" fmla="*/ 6866 w 926293"/>
                <a:gd name="connsiteY8" fmla="*/ 555948 h 555948"/>
                <a:gd name="connsiteX9" fmla="*/ 0 w 926293"/>
                <a:gd name="connsiteY9" fmla="*/ 549082 h 555948"/>
                <a:gd name="connsiteX10" fmla="*/ 0 w 926293"/>
                <a:gd name="connsiteY10" fmla="*/ 6866 h 55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6293" h="555948" fill="none" extrusionOk="0">
                  <a:moveTo>
                    <a:pt x="0" y="6866"/>
                  </a:moveTo>
                  <a:cubicBezTo>
                    <a:pt x="-30" y="3958"/>
                    <a:pt x="2921" y="-476"/>
                    <a:pt x="6866" y="0"/>
                  </a:cubicBezTo>
                  <a:cubicBezTo>
                    <a:pt x="191964" y="21782"/>
                    <a:pt x="249696" y="-2468"/>
                    <a:pt x="463147" y="0"/>
                  </a:cubicBezTo>
                  <a:cubicBezTo>
                    <a:pt x="676598" y="2468"/>
                    <a:pt x="791606" y="13234"/>
                    <a:pt x="919427" y="0"/>
                  </a:cubicBezTo>
                  <a:cubicBezTo>
                    <a:pt x="923030" y="-544"/>
                    <a:pt x="926198" y="2993"/>
                    <a:pt x="926293" y="6866"/>
                  </a:cubicBezTo>
                  <a:cubicBezTo>
                    <a:pt x="953109" y="237565"/>
                    <a:pt x="900117" y="374835"/>
                    <a:pt x="926293" y="549082"/>
                  </a:cubicBezTo>
                  <a:cubicBezTo>
                    <a:pt x="925616" y="553142"/>
                    <a:pt x="923370" y="556001"/>
                    <a:pt x="919427" y="555948"/>
                  </a:cubicBezTo>
                  <a:cubicBezTo>
                    <a:pt x="746083" y="565383"/>
                    <a:pt x="657548" y="534151"/>
                    <a:pt x="463147" y="555948"/>
                  </a:cubicBezTo>
                  <a:cubicBezTo>
                    <a:pt x="268746" y="577745"/>
                    <a:pt x="131909" y="546671"/>
                    <a:pt x="6866" y="555948"/>
                  </a:cubicBezTo>
                  <a:cubicBezTo>
                    <a:pt x="3639" y="555867"/>
                    <a:pt x="-143" y="553017"/>
                    <a:pt x="0" y="549082"/>
                  </a:cubicBezTo>
                  <a:cubicBezTo>
                    <a:pt x="-673" y="349520"/>
                    <a:pt x="26484" y="121425"/>
                    <a:pt x="0" y="6866"/>
                  </a:cubicBezTo>
                  <a:close/>
                </a:path>
                <a:path w="926293" h="555948" stroke="0" extrusionOk="0">
                  <a:moveTo>
                    <a:pt x="0" y="6866"/>
                  </a:moveTo>
                  <a:cubicBezTo>
                    <a:pt x="-22" y="2747"/>
                    <a:pt x="3253" y="-546"/>
                    <a:pt x="6866" y="0"/>
                  </a:cubicBezTo>
                  <a:cubicBezTo>
                    <a:pt x="142052" y="-7444"/>
                    <a:pt x="274827" y="14461"/>
                    <a:pt x="444895" y="0"/>
                  </a:cubicBezTo>
                  <a:cubicBezTo>
                    <a:pt x="614963" y="-14461"/>
                    <a:pt x="688792" y="-10209"/>
                    <a:pt x="919427" y="0"/>
                  </a:cubicBezTo>
                  <a:cubicBezTo>
                    <a:pt x="923341" y="224"/>
                    <a:pt x="926288" y="3813"/>
                    <a:pt x="926293" y="6866"/>
                  </a:cubicBezTo>
                  <a:cubicBezTo>
                    <a:pt x="916543" y="188338"/>
                    <a:pt x="942619" y="391448"/>
                    <a:pt x="926293" y="549082"/>
                  </a:cubicBezTo>
                  <a:cubicBezTo>
                    <a:pt x="925830" y="552079"/>
                    <a:pt x="923456" y="555697"/>
                    <a:pt x="919427" y="555948"/>
                  </a:cubicBezTo>
                  <a:cubicBezTo>
                    <a:pt x="734782" y="542145"/>
                    <a:pt x="649506" y="568689"/>
                    <a:pt x="481398" y="555948"/>
                  </a:cubicBezTo>
                  <a:cubicBezTo>
                    <a:pt x="313290" y="543207"/>
                    <a:pt x="192922" y="536094"/>
                    <a:pt x="6866" y="555948"/>
                  </a:cubicBezTo>
                  <a:cubicBezTo>
                    <a:pt x="3652" y="556077"/>
                    <a:pt x="-614" y="553399"/>
                    <a:pt x="0" y="549082"/>
                  </a:cubicBezTo>
                  <a:cubicBezTo>
                    <a:pt x="14576" y="326573"/>
                    <a:pt x="23897" y="206876"/>
                    <a:pt x="0" y="68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29" name="Picture Placeholder Graphic">
              <a:extLst>
                <a:ext uri="{FF2B5EF4-FFF2-40B4-BE49-F238E27FC236}">
                  <a16:creationId xmlns:a16="http://schemas.microsoft.com/office/drawing/2014/main" id="{3F79150F-2074-4247-A4F2-49FB8171372C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30" name="Triangle 2">
                <a:extLst>
                  <a:ext uri="{FF2B5EF4-FFF2-40B4-BE49-F238E27FC236}">
                    <a16:creationId xmlns:a16="http://schemas.microsoft.com/office/drawing/2014/main" id="{D6013176-D13B-413D-8753-169667ECAA83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Triangle 1">
                <a:extLst>
                  <a:ext uri="{FF2B5EF4-FFF2-40B4-BE49-F238E27FC236}">
                    <a16:creationId xmlns:a16="http://schemas.microsoft.com/office/drawing/2014/main" id="{AC18FFBC-B09A-4D93-8085-3020064294D9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Circle">
                <a:extLst>
                  <a:ext uri="{FF2B5EF4-FFF2-40B4-BE49-F238E27FC236}">
                    <a16:creationId xmlns:a16="http://schemas.microsoft.com/office/drawing/2014/main" id="{9E40A3F7-1DA7-447A-846F-2EE6C9FBCFAF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39" name="Slideshow 2">
            <a:extLst>
              <a:ext uri="{FF2B5EF4-FFF2-40B4-BE49-F238E27FC236}">
                <a16:creationId xmlns:a16="http://schemas.microsoft.com/office/drawing/2014/main" id="{D1F4791C-9AFD-4B55-A2B3-6EE8A7C63960}"/>
              </a:ext>
            </a:extLst>
          </p:cNvPr>
          <p:cNvGrpSpPr/>
          <p:nvPr/>
        </p:nvGrpSpPr>
        <p:grpSpPr>
          <a:xfrm>
            <a:off x="8999572" y="2782841"/>
            <a:ext cx="2146863" cy="1417617"/>
            <a:chOff x="5893023" y="8073679"/>
            <a:chExt cx="1386502" cy="810007"/>
          </a:xfrm>
        </p:grpSpPr>
        <p:sp>
          <p:nvSpPr>
            <p:cNvPr id="140" name="Picture Placeholder">
              <a:extLst>
                <a:ext uri="{FF2B5EF4-FFF2-40B4-BE49-F238E27FC236}">
                  <a16:creationId xmlns:a16="http://schemas.microsoft.com/office/drawing/2014/main" id="{1CBFC5F4-F3A9-4846-99F3-8B8A88B7592D}"/>
                </a:ext>
              </a:extLst>
            </p:cNvPr>
            <p:cNvSpPr/>
            <p:nvPr/>
          </p:nvSpPr>
          <p:spPr>
            <a:xfrm>
              <a:off x="6010200" y="8073679"/>
              <a:ext cx="1151257" cy="693631"/>
            </a:xfrm>
            <a:custGeom>
              <a:avLst/>
              <a:gdLst>
                <a:gd name="connsiteX0" fmla="*/ 0 w 1151257"/>
                <a:gd name="connsiteY0" fmla="*/ 8566 h 693631"/>
                <a:gd name="connsiteX1" fmla="*/ 8566 w 1151257"/>
                <a:gd name="connsiteY1" fmla="*/ 0 h 693631"/>
                <a:gd name="connsiteX2" fmla="*/ 575629 w 1151257"/>
                <a:gd name="connsiteY2" fmla="*/ 0 h 693631"/>
                <a:gd name="connsiteX3" fmla="*/ 1142691 w 1151257"/>
                <a:gd name="connsiteY3" fmla="*/ 0 h 693631"/>
                <a:gd name="connsiteX4" fmla="*/ 1151257 w 1151257"/>
                <a:gd name="connsiteY4" fmla="*/ 8566 h 693631"/>
                <a:gd name="connsiteX5" fmla="*/ 1151257 w 1151257"/>
                <a:gd name="connsiteY5" fmla="*/ 685065 h 693631"/>
                <a:gd name="connsiteX6" fmla="*/ 1142691 w 1151257"/>
                <a:gd name="connsiteY6" fmla="*/ 693631 h 693631"/>
                <a:gd name="connsiteX7" fmla="*/ 575629 w 1151257"/>
                <a:gd name="connsiteY7" fmla="*/ 693631 h 693631"/>
                <a:gd name="connsiteX8" fmla="*/ 8566 w 1151257"/>
                <a:gd name="connsiteY8" fmla="*/ 693631 h 693631"/>
                <a:gd name="connsiteX9" fmla="*/ 0 w 1151257"/>
                <a:gd name="connsiteY9" fmla="*/ 685065 h 693631"/>
                <a:gd name="connsiteX10" fmla="*/ 0 w 1151257"/>
                <a:gd name="connsiteY10" fmla="*/ 8566 h 69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1257" h="693631" fill="none" extrusionOk="0">
                  <a:moveTo>
                    <a:pt x="0" y="8566"/>
                  </a:moveTo>
                  <a:cubicBezTo>
                    <a:pt x="-36" y="4887"/>
                    <a:pt x="3623" y="-659"/>
                    <a:pt x="8566" y="0"/>
                  </a:cubicBezTo>
                  <a:cubicBezTo>
                    <a:pt x="186046" y="-16943"/>
                    <a:pt x="368094" y="-5391"/>
                    <a:pt x="575629" y="0"/>
                  </a:cubicBezTo>
                  <a:cubicBezTo>
                    <a:pt x="783164" y="5391"/>
                    <a:pt x="920423" y="2511"/>
                    <a:pt x="1142691" y="0"/>
                  </a:cubicBezTo>
                  <a:cubicBezTo>
                    <a:pt x="1147220" y="-581"/>
                    <a:pt x="1150710" y="3366"/>
                    <a:pt x="1151257" y="8566"/>
                  </a:cubicBezTo>
                  <a:cubicBezTo>
                    <a:pt x="1128845" y="259583"/>
                    <a:pt x="1157500" y="370812"/>
                    <a:pt x="1151257" y="685065"/>
                  </a:cubicBezTo>
                  <a:cubicBezTo>
                    <a:pt x="1150784" y="689983"/>
                    <a:pt x="1147634" y="693706"/>
                    <a:pt x="1142691" y="693631"/>
                  </a:cubicBezTo>
                  <a:cubicBezTo>
                    <a:pt x="994800" y="688769"/>
                    <a:pt x="782448" y="688515"/>
                    <a:pt x="575629" y="693631"/>
                  </a:cubicBezTo>
                  <a:cubicBezTo>
                    <a:pt x="368810" y="698747"/>
                    <a:pt x="140179" y="711413"/>
                    <a:pt x="8566" y="693631"/>
                  </a:cubicBezTo>
                  <a:cubicBezTo>
                    <a:pt x="4027" y="693603"/>
                    <a:pt x="-774" y="690568"/>
                    <a:pt x="0" y="685065"/>
                  </a:cubicBezTo>
                  <a:cubicBezTo>
                    <a:pt x="11694" y="525555"/>
                    <a:pt x="-23241" y="296769"/>
                    <a:pt x="0" y="8566"/>
                  </a:cubicBezTo>
                  <a:close/>
                </a:path>
                <a:path w="1151257" h="693631" stroke="0" extrusionOk="0">
                  <a:moveTo>
                    <a:pt x="0" y="8566"/>
                  </a:moveTo>
                  <a:cubicBezTo>
                    <a:pt x="-26" y="3447"/>
                    <a:pt x="4165" y="-1006"/>
                    <a:pt x="8566" y="0"/>
                  </a:cubicBezTo>
                  <a:cubicBezTo>
                    <a:pt x="276857" y="-6123"/>
                    <a:pt x="415430" y="-11985"/>
                    <a:pt x="552946" y="0"/>
                  </a:cubicBezTo>
                  <a:cubicBezTo>
                    <a:pt x="690462" y="11985"/>
                    <a:pt x="992726" y="-15838"/>
                    <a:pt x="1142691" y="0"/>
                  </a:cubicBezTo>
                  <a:cubicBezTo>
                    <a:pt x="1147713" y="534"/>
                    <a:pt x="1151253" y="4473"/>
                    <a:pt x="1151257" y="8566"/>
                  </a:cubicBezTo>
                  <a:cubicBezTo>
                    <a:pt x="1124035" y="234463"/>
                    <a:pt x="1184467" y="504806"/>
                    <a:pt x="1151257" y="685065"/>
                  </a:cubicBezTo>
                  <a:cubicBezTo>
                    <a:pt x="1150985" y="689330"/>
                    <a:pt x="1147549" y="693497"/>
                    <a:pt x="1142691" y="693631"/>
                  </a:cubicBezTo>
                  <a:cubicBezTo>
                    <a:pt x="880247" y="694259"/>
                    <a:pt x="868694" y="705211"/>
                    <a:pt x="598311" y="693631"/>
                  </a:cubicBezTo>
                  <a:cubicBezTo>
                    <a:pt x="327928" y="682051"/>
                    <a:pt x="141152" y="705037"/>
                    <a:pt x="8566" y="693631"/>
                  </a:cubicBezTo>
                  <a:cubicBezTo>
                    <a:pt x="4556" y="693793"/>
                    <a:pt x="-472" y="690200"/>
                    <a:pt x="0" y="685065"/>
                  </a:cubicBezTo>
                  <a:cubicBezTo>
                    <a:pt x="20394" y="420098"/>
                    <a:pt x="-31892" y="319217"/>
                    <a:pt x="0" y="85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1" name="Picture Placeholder Graphic">
              <a:extLst>
                <a:ext uri="{FF2B5EF4-FFF2-40B4-BE49-F238E27FC236}">
                  <a16:creationId xmlns:a16="http://schemas.microsoft.com/office/drawing/2014/main" id="{C1D5FBF2-16BC-4EB3-B384-FF0E31F3E8C7}"/>
                </a:ext>
              </a:extLst>
            </p:cNvPr>
            <p:cNvGrpSpPr/>
            <p:nvPr/>
          </p:nvGrpSpPr>
          <p:grpSpPr>
            <a:xfrm>
              <a:off x="6274343" y="8262776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54" name="Triangle 2">
                <a:extLst>
                  <a:ext uri="{FF2B5EF4-FFF2-40B4-BE49-F238E27FC236}">
                    <a16:creationId xmlns:a16="http://schemas.microsoft.com/office/drawing/2014/main" id="{59834BD1-760C-44DA-86AD-28CF8B7FD8D2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Triangle 1">
                <a:extLst>
                  <a:ext uri="{FF2B5EF4-FFF2-40B4-BE49-F238E27FC236}">
                    <a16:creationId xmlns:a16="http://schemas.microsoft.com/office/drawing/2014/main" id="{6CB6F999-DCB0-4F75-82D6-1CD3AFF38315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Circle">
                <a:extLst>
                  <a:ext uri="{FF2B5EF4-FFF2-40B4-BE49-F238E27FC236}">
                    <a16:creationId xmlns:a16="http://schemas.microsoft.com/office/drawing/2014/main" id="{A9941325-1830-4708-9F18-9FBB97DBFAAE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2" name="Right Arrow">
              <a:extLst>
                <a:ext uri="{FF2B5EF4-FFF2-40B4-BE49-F238E27FC236}">
                  <a16:creationId xmlns:a16="http://schemas.microsoft.com/office/drawing/2014/main" id="{50D8D5A9-5296-43B6-90B7-73DBF4941B8B}"/>
                </a:ext>
              </a:extLst>
            </p:cNvPr>
            <p:cNvGrpSpPr/>
            <p:nvPr/>
          </p:nvGrpSpPr>
          <p:grpSpPr>
            <a:xfrm rot="13229624">
              <a:off x="7213694" y="8390293"/>
              <a:ext cx="65831" cy="65841"/>
              <a:chOff x="1480962" y="3194958"/>
              <a:chExt cx="182923" cy="191607"/>
            </a:xfrm>
          </p:grpSpPr>
          <p:cxnSp>
            <p:nvCxnSpPr>
              <p:cNvPr id="152" name="Line 2">
                <a:extLst>
                  <a:ext uri="{FF2B5EF4-FFF2-40B4-BE49-F238E27FC236}">
                    <a16:creationId xmlns:a16="http://schemas.microsoft.com/office/drawing/2014/main" id="{98E89D95-EDB9-40C7-9006-85A7033457AA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58" y="3276838"/>
                <a:ext cx="109727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Line 1">
                <a:extLst>
                  <a:ext uri="{FF2B5EF4-FFF2-40B4-BE49-F238E27FC236}">
                    <a16:creationId xmlns:a16="http://schemas.microsoft.com/office/drawing/2014/main" id="{761583C7-CE28-4DA3-BD6B-78E909EFCF67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62" y="3194958"/>
                <a:ext cx="109725" cy="109725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Left Arrow">
              <a:extLst>
                <a:ext uri="{FF2B5EF4-FFF2-40B4-BE49-F238E27FC236}">
                  <a16:creationId xmlns:a16="http://schemas.microsoft.com/office/drawing/2014/main" id="{6051B8EA-F7E2-4448-83A0-A1E4E3925875}"/>
                </a:ext>
              </a:extLst>
            </p:cNvPr>
            <p:cNvGrpSpPr/>
            <p:nvPr/>
          </p:nvGrpSpPr>
          <p:grpSpPr>
            <a:xfrm rot="8370376" flipH="1">
              <a:off x="5893023" y="8388223"/>
              <a:ext cx="65831" cy="65837"/>
              <a:chOff x="1480955" y="3194964"/>
              <a:chExt cx="182924" cy="191600"/>
            </a:xfrm>
          </p:grpSpPr>
          <p:cxnSp>
            <p:nvCxnSpPr>
              <p:cNvPr id="150" name="Line 2">
                <a:extLst>
                  <a:ext uri="{FF2B5EF4-FFF2-40B4-BE49-F238E27FC236}">
                    <a16:creationId xmlns:a16="http://schemas.microsoft.com/office/drawing/2014/main" id="{57252C32-3118-49EE-8D19-BE1C671606DD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Line 1">
                <a:extLst>
                  <a:ext uri="{FF2B5EF4-FFF2-40B4-BE49-F238E27FC236}">
                    <a16:creationId xmlns:a16="http://schemas.microsoft.com/office/drawing/2014/main" id="{7DB1B3DC-4B84-4A1A-AE65-74A276ECA17D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4" name="Slideshow Options">
              <a:extLst>
                <a:ext uri="{FF2B5EF4-FFF2-40B4-BE49-F238E27FC236}">
                  <a16:creationId xmlns:a16="http://schemas.microsoft.com/office/drawing/2014/main" id="{A582EBDA-DE66-4D45-A65E-F095AD49A5BA}"/>
                </a:ext>
              </a:extLst>
            </p:cNvPr>
            <p:cNvGrpSpPr/>
            <p:nvPr/>
          </p:nvGrpSpPr>
          <p:grpSpPr>
            <a:xfrm>
              <a:off x="6432814" y="8841399"/>
              <a:ext cx="315468" cy="42287"/>
              <a:chOff x="4681370" y="10451274"/>
              <a:chExt cx="350636" cy="47002"/>
            </a:xfrm>
          </p:grpSpPr>
          <p:sp>
            <p:nvSpPr>
              <p:cNvPr id="145" name="Circle">
                <a:extLst>
                  <a:ext uri="{FF2B5EF4-FFF2-40B4-BE49-F238E27FC236}">
                    <a16:creationId xmlns:a16="http://schemas.microsoft.com/office/drawing/2014/main" id="{86B5BAC2-2C6E-4410-BA69-035577B33652}"/>
                  </a:ext>
                </a:extLst>
              </p:cNvPr>
              <p:cNvSpPr/>
              <p:nvPr/>
            </p:nvSpPr>
            <p:spPr>
              <a:xfrm>
                <a:off x="4985226" y="1045146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extrusionOk="0">
                    <a:moveTo>
                      <a:pt x="0" y="23390"/>
                    </a:moveTo>
                    <a:cubicBezTo>
                      <a:pt x="-886" y="9925"/>
                      <a:pt x="9464" y="378"/>
                      <a:pt x="23390" y="0"/>
                    </a:cubicBezTo>
                    <a:cubicBezTo>
                      <a:pt x="38435" y="448"/>
                      <a:pt x="44510" y="10544"/>
                      <a:pt x="46780" y="23390"/>
                    </a:cubicBezTo>
                    <a:cubicBezTo>
                      <a:pt x="45034" y="38013"/>
                      <a:pt x="35944" y="48794"/>
                      <a:pt x="23390" y="46780"/>
                    </a:cubicBezTo>
                    <a:cubicBezTo>
                      <a:pt x="8622" y="45768"/>
                      <a:pt x="1338" y="36947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Circle">
                <a:extLst>
                  <a:ext uri="{FF2B5EF4-FFF2-40B4-BE49-F238E27FC236}">
                    <a16:creationId xmlns:a16="http://schemas.microsoft.com/office/drawing/2014/main" id="{5CBEA4A8-D1D9-4C00-A110-43EFE820577A}"/>
                  </a:ext>
                </a:extLst>
              </p:cNvPr>
              <p:cNvSpPr/>
              <p:nvPr/>
            </p:nvSpPr>
            <p:spPr>
              <a:xfrm>
                <a:off x="4909855" y="10451274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-348" y="10488"/>
                      <a:pt x="11055" y="573"/>
                      <a:pt x="23390" y="0"/>
                    </a:cubicBezTo>
                    <a:cubicBezTo>
                      <a:pt x="37219" y="1869"/>
                      <a:pt x="46829" y="11973"/>
                      <a:pt x="46780" y="23391"/>
                    </a:cubicBezTo>
                    <a:cubicBezTo>
                      <a:pt x="46347" y="35656"/>
                      <a:pt x="36751" y="47318"/>
                      <a:pt x="23390" y="46782"/>
                    </a:cubicBezTo>
                    <a:cubicBezTo>
                      <a:pt x="10804" y="45549"/>
                      <a:pt x="752" y="37710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Circle">
                <a:extLst>
                  <a:ext uri="{FF2B5EF4-FFF2-40B4-BE49-F238E27FC236}">
                    <a16:creationId xmlns:a16="http://schemas.microsoft.com/office/drawing/2014/main" id="{43E44CFA-205A-458D-A02F-721F9F5264E4}"/>
                  </a:ext>
                </a:extLst>
              </p:cNvPr>
              <p:cNvSpPr/>
              <p:nvPr/>
            </p:nvSpPr>
            <p:spPr>
              <a:xfrm>
                <a:off x="4834488" y="10451342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114" y="9613"/>
                      <a:pt x="12313" y="1483"/>
                      <a:pt x="23390" y="0"/>
                    </a:cubicBezTo>
                    <a:cubicBezTo>
                      <a:pt x="35322" y="-373"/>
                      <a:pt x="47235" y="8876"/>
                      <a:pt x="46780" y="23391"/>
                    </a:cubicBezTo>
                    <a:cubicBezTo>
                      <a:pt x="47961" y="35529"/>
                      <a:pt x="35600" y="48586"/>
                      <a:pt x="23390" y="46782"/>
                    </a:cubicBezTo>
                    <a:cubicBezTo>
                      <a:pt x="10409" y="46987"/>
                      <a:pt x="835" y="35575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26649898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Circle">
                <a:extLst>
                  <a:ext uri="{FF2B5EF4-FFF2-40B4-BE49-F238E27FC236}">
                    <a16:creationId xmlns:a16="http://schemas.microsoft.com/office/drawing/2014/main" id="{1B81B0B4-974D-4555-B1CC-84C4F64B21C3}"/>
                  </a:ext>
                </a:extLst>
              </p:cNvPr>
              <p:cNvSpPr/>
              <p:nvPr/>
            </p:nvSpPr>
            <p:spPr>
              <a:xfrm>
                <a:off x="475912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extrusionOk="0">
                    <a:moveTo>
                      <a:pt x="0" y="23390"/>
                    </a:moveTo>
                    <a:cubicBezTo>
                      <a:pt x="-1212" y="9047"/>
                      <a:pt x="11175" y="-255"/>
                      <a:pt x="23390" y="0"/>
                    </a:cubicBezTo>
                    <a:cubicBezTo>
                      <a:pt x="34841" y="824"/>
                      <a:pt x="48750" y="9884"/>
                      <a:pt x="46780" y="23390"/>
                    </a:cubicBezTo>
                    <a:cubicBezTo>
                      <a:pt x="46279" y="35310"/>
                      <a:pt x="35908" y="48026"/>
                      <a:pt x="23390" y="46780"/>
                    </a:cubicBezTo>
                    <a:cubicBezTo>
                      <a:pt x="11139" y="45861"/>
                      <a:pt x="947" y="36230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87924873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Filled Circle">
                <a:extLst>
                  <a:ext uri="{FF2B5EF4-FFF2-40B4-BE49-F238E27FC236}">
                    <a16:creationId xmlns:a16="http://schemas.microsoft.com/office/drawing/2014/main" id="{876763B6-8953-47C7-BA63-72AF7D5F3F7C}"/>
                  </a:ext>
                </a:extLst>
              </p:cNvPr>
              <p:cNvSpPr/>
              <p:nvPr/>
            </p:nvSpPr>
            <p:spPr>
              <a:xfrm>
                <a:off x="468137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fill="none" extrusionOk="0">
                    <a:moveTo>
                      <a:pt x="0" y="23390"/>
                    </a:moveTo>
                    <a:cubicBezTo>
                      <a:pt x="8" y="8503"/>
                      <a:pt x="8523" y="-671"/>
                      <a:pt x="23390" y="0"/>
                    </a:cubicBezTo>
                    <a:cubicBezTo>
                      <a:pt x="37598" y="1296"/>
                      <a:pt x="45591" y="8960"/>
                      <a:pt x="46780" y="23390"/>
                    </a:cubicBezTo>
                    <a:cubicBezTo>
                      <a:pt x="47615" y="34113"/>
                      <a:pt x="37153" y="47007"/>
                      <a:pt x="23390" y="46780"/>
                    </a:cubicBezTo>
                    <a:cubicBezTo>
                      <a:pt x="10194" y="45197"/>
                      <a:pt x="-637" y="35071"/>
                      <a:pt x="0" y="23390"/>
                    </a:cubicBezTo>
                    <a:close/>
                  </a:path>
                  <a:path w="46780" h="46779" stroke="0" extrusionOk="0">
                    <a:moveTo>
                      <a:pt x="0" y="23390"/>
                    </a:moveTo>
                    <a:cubicBezTo>
                      <a:pt x="-230" y="9828"/>
                      <a:pt x="10446" y="-318"/>
                      <a:pt x="23390" y="0"/>
                    </a:cubicBezTo>
                    <a:cubicBezTo>
                      <a:pt x="35368" y="-228"/>
                      <a:pt x="45148" y="10779"/>
                      <a:pt x="46780" y="23390"/>
                    </a:cubicBezTo>
                    <a:cubicBezTo>
                      <a:pt x="47835" y="38540"/>
                      <a:pt x="38194" y="45997"/>
                      <a:pt x="23390" y="46780"/>
                    </a:cubicBezTo>
                    <a:cubicBezTo>
                      <a:pt x="13007" y="46900"/>
                      <a:pt x="99" y="37444"/>
                      <a:pt x="0" y="2339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4327539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57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92D334AD-A53A-4F10-8587-E30F32098763}"/>
              </a:ext>
            </a:extLst>
          </p:cNvPr>
          <p:cNvGrpSpPr/>
          <p:nvPr/>
        </p:nvGrpSpPr>
        <p:grpSpPr>
          <a:xfrm>
            <a:off x="9169543" y="4362371"/>
            <a:ext cx="1950118" cy="1177785"/>
            <a:chOff x="-5326399" y="1380314"/>
            <a:chExt cx="1228382" cy="622836"/>
          </a:xfrm>
        </p:grpSpPr>
        <p:sp>
          <p:nvSpPr>
            <p:cNvPr id="158" name="Rectangle 5">
              <a:extLst>
                <a:ext uri="{FF2B5EF4-FFF2-40B4-BE49-F238E27FC236}">
                  <a16:creationId xmlns:a16="http://schemas.microsoft.com/office/drawing/2014/main" id="{57135706-A87A-46DE-A35F-D838BAF3DEE2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228381"/>
                <a:gd name="connsiteY0" fmla="*/ 0 h 64008"/>
                <a:gd name="connsiteX1" fmla="*/ 614191 w 1228381"/>
                <a:gd name="connsiteY1" fmla="*/ 0 h 64008"/>
                <a:gd name="connsiteX2" fmla="*/ 1228381 w 1228381"/>
                <a:gd name="connsiteY2" fmla="*/ 0 h 64008"/>
                <a:gd name="connsiteX3" fmla="*/ 1228381 w 1228381"/>
                <a:gd name="connsiteY3" fmla="*/ 64008 h 64008"/>
                <a:gd name="connsiteX4" fmla="*/ 589623 w 1228381"/>
                <a:gd name="connsiteY4" fmla="*/ 64008 h 64008"/>
                <a:gd name="connsiteX5" fmla="*/ 0 w 1228381"/>
                <a:gd name="connsiteY5" fmla="*/ 64008 h 64008"/>
                <a:gd name="connsiteX6" fmla="*/ 0 w 1228381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8381" h="64008" fill="none" extrusionOk="0">
                  <a:moveTo>
                    <a:pt x="0" y="0"/>
                  </a:moveTo>
                  <a:cubicBezTo>
                    <a:pt x="165142" y="-26428"/>
                    <a:pt x="313313" y="-27854"/>
                    <a:pt x="614191" y="0"/>
                  </a:cubicBezTo>
                  <a:cubicBezTo>
                    <a:pt x="915069" y="27854"/>
                    <a:pt x="997070" y="-23687"/>
                    <a:pt x="1228381" y="0"/>
                  </a:cubicBezTo>
                  <a:cubicBezTo>
                    <a:pt x="1231048" y="27787"/>
                    <a:pt x="1228947" y="42632"/>
                    <a:pt x="1228381" y="64008"/>
                  </a:cubicBezTo>
                  <a:cubicBezTo>
                    <a:pt x="922052" y="77269"/>
                    <a:pt x="869818" y="72455"/>
                    <a:pt x="589623" y="64008"/>
                  </a:cubicBezTo>
                  <a:cubicBezTo>
                    <a:pt x="309428" y="55561"/>
                    <a:pt x="127275" y="82096"/>
                    <a:pt x="0" y="64008"/>
                  </a:cubicBezTo>
                  <a:cubicBezTo>
                    <a:pt x="279" y="44606"/>
                    <a:pt x="-934" y="25820"/>
                    <a:pt x="0" y="0"/>
                  </a:cubicBezTo>
                  <a:close/>
                </a:path>
                <a:path w="1228381" h="64008" stroke="0" extrusionOk="0">
                  <a:moveTo>
                    <a:pt x="0" y="0"/>
                  </a:moveTo>
                  <a:cubicBezTo>
                    <a:pt x="167411" y="-22089"/>
                    <a:pt x="426488" y="1143"/>
                    <a:pt x="626474" y="0"/>
                  </a:cubicBezTo>
                  <a:cubicBezTo>
                    <a:pt x="826460" y="-1143"/>
                    <a:pt x="959873" y="19830"/>
                    <a:pt x="1228381" y="0"/>
                  </a:cubicBezTo>
                  <a:cubicBezTo>
                    <a:pt x="1225713" y="24987"/>
                    <a:pt x="1227770" y="51127"/>
                    <a:pt x="1228381" y="64008"/>
                  </a:cubicBezTo>
                  <a:cubicBezTo>
                    <a:pt x="964899" y="41709"/>
                    <a:pt x="898730" y="60030"/>
                    <a:pt x="589623" y="64008"/>
                  </a:cubicBezTo>
                  <a:cubicBezTo>
                    <a:pt x="280516" y="67986"/>
                    <a:pt x="166407" y="35384"/>
                    <a:pt x="0" y="64008"/>
                  </a:cubicBezTo>
                  <a:cubicBezTo>
                    <a:pt x="-1646" y="44721"/>
                    <a:pt x="1257" y="167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tangle 4">
              <a:extLst>
                <a:ext uri="{FF2B5EF4-FFF2-40B4-BE49-F238E27FC236}">
                  <a16:creationId xmlns:a16="http://schemas.microsoft.com/office/drawing/2014/main" id="{D1F7D16B-8CBB-48E7-BAF0-3868C7A873D8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156123"/>
                <a:gd name="connsiteY0" fmla="*/ 0 h 64008"/>
                <a:gd name="connsiteX1" fmla="*/ 601184 w 1156123"/>
                <a:gd name="connsiteY1" fmla="*/ 0 h 64008"/>
                <a:gd name="connsiteX2" fmla="*/ 1156123 w 1156123"/>
                <a:gd name="connsiteY2" fmla="*/ 0 h 64008"/>
                <a:gd name="connsiteX3" fmla="*/ 1156123 w 1156123"/>
                <a:gd name="connsiteY3" fmla="*/ 64008 h 64008"/>
                <a:gd name="connsiteX4" fmla="*/ 566500 w 1156123"/>
                <a:gd name="connsiteY4" fmla="*/ 64008 h 64008"/>
                <a:gd name="connsiteX5" fmla="*/ 0 w 1156123"/>
                <a:gd name="connsiteY5" fmla="*/ 64008 h 64008"/>
                <a:gd name="connsiteX6" fmla="*/ 0 w 1156123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123" h="64008" fill="none" extrusionOk="0">
                  <a:moveTo>
                    <a:pt x="0" y="0"/>
                  </a:moveTo>
                  <a:cubicBezTo>
                    <a:pt x="138334" y="-18225"/>
                    <a:pt x="313638" y="20190"/>
                    <a:pt x="601184" y="0"/>
                  </a:cubicBezTo>
                  <a:cubicBezTo>
                    <a:pt x="888730" y="-20190"/>
                    <a:pt x="1032926" y="14422"/>
                    <a:pt x="1156123" y="0"/>
                  </a:cubicBezTo>
                  <a:cubicBezTo>
                    <a:pt x="1157324" y="16741"/>
                    <a:pt x="1153679" y="41845"/>
                    <a:pt x="1156123" y="64008"/>
                  </a:cubicBezTo>
                  <a:cubicBezTo>
                    <a:pt x="916827" y="39633"/>
                    <a:pt x="766170" y="43302"/>
                    <a:pt x="566500" y="64008"/>
                  </a:cubicBezTo>
                  <a:cubicBezTo>
                    <a:pt x="366830" y="84714"/>
                    <a:pt x="154499" y="76833"/>
                    <a:pt x="0" y="64008"/>
                  </a:cubicBezTo>
                  <a:cubicBezTo>
                    <a:pt x="1422" y="39840"/>
                    <a:pt x="2711" y="23338"/>
                    <a:pt x="0" y="0"/>
                  </a:cubicBezTo>
                  <a:close/>
                </a:path>
                <a:path w="1156123" h="64008" stroke="0" extrusionOk="0">
                  <a:moveTo>
                    <a:pt x="0" y="0"/>
                  </a:moveTo>
                  <a:cubicBezTo>
                    <a:pt x="166219" y="-22033"/>
                    <a:pt x="353438" y="27318"/>
                    <a:pt x="554939" y="0"/>
                  </a:cubicBezTo>
                  <a:cubicBezTo>
                    <a:pt x="756440" y="-27318"/>
                    <a:pt x="952613" y="-20057"/>
                    <a:pt x="1156123" y="0"/>
                  </a:cubicBezTo>
                  <a:cubicBezTo>
                    <a:pt x="1155374" y="20271"/>
                    <a:pt x="1158168" y="49605"/>
                    <a:pt x="1156123" y="64008"/>
                  </a:cubicBezTo>
                  <a:cubicBezTo>
                    <a:pt x="901980" y="83371"/>
                    <a:pt x="716074" y="68995"/>
                    <a:pt x="566500" y="64008"/>
                  </a:cubicBezTo>
                  <a:cubicBezTo>
                    <a:pt x="416926" y="59021"/>
                    <a:pt x="195891" y="79443"/>
                    <a:pt x="0" y="64008"/>
                  </a:cubicBezTo>
                  <a:cubicBezTo>
                    <a:pt x="2854" y="41256"/>
                    <a:pt x="2167" y="1843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Rectangle 3">
              <a:extLst>
                <a:ext uri="{FF2B5EF4-FFF2-40B4-BE49-F238E27FC236}">
                  <a16:creationId xmlns:a16="http://schemas.microsoft.com/office/drawing/2014/main" id="{0C51146D-B1F2-4EAB-B77D-0151AB4EF710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932688"/>
                <a:gd name="connsiteY0" fmla="*/ 0 h 64008"/>
                <a:gd name="connsiteX1" fmla="*/ 475671 w 932688"/>
                <a:gd name="connsiteY1" fmla="*/ 0 h 64008"/>
                <a:gd name="connsiteX2" fmla="*/ 932688 w 932688"/>
                <a:gd name="connsiteY2" fmla="*/ 0 h 64008"/>
                <a:gd name="connsiteX3" fmla="*/ 932688 w 932688"/>
                <a:gd name="connsiteY3" fmla="*/ 64008 h 64008"/>
                <a:gd name="connsiteX4" fmla="*/ 447690 w 932688"/>
                <a:gd name="connsiteY4" fmla="*/ 64008 h 64008"/>
                <a:gd name="connsiteX5" fmla="*/ 0 w 932688"/>
                <a:gd name="connsiteY5" fmla="*/ 64008 h 64008"/>
                <a:gd name="connsiteX6" fmla="*/ 0 w 93268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2688" h="64008" fill="none" extrusionOk="0">
                  <a:moveTo>
                    <a:pt x="0" y="0"/>
                  </a:moveTo>
                  <a:cubicBezTo>
                    <a:pt x="109317" y="3578"/>
                    <a:pt x="347583" y="22913"/>
                    <a:pt x="475671" y="0"/>
                  </a:cubicBezTo>
                  <a:cubicBezTo>
                    <a:pt x="603759" y="-22913"/>
                    <a:pt x="760272" y="8236"/>
                    <a:pt x="932688" y="0"/>
                  </a:cubicBezTo>
                  <a:cubicBezTo>
                    <a:pt x="932471" y="28692"/>
                    <a:pt x="934511" y="49533"/>
                    <a:pt x="932688" y="64008"/>
                  </a:cubicBezTo>
                  <a:cubicBezTo>
                    <a:pt x="735398" y="61622"/>
                    <a:pt x="633287" y="49920"/>
                    <a:pt x="447690" y="64008"/>
                  </a:cubicBezTo>
                  <a:cubicBezTo>
                    <a:pt x="262093" y="78096"/>
                    <a:pt x="98017" y="51756"/>
                    <a:pt x="0" y="64008"/>
                  </a:cubicBezTo>
                  <a:cubicBezTo>
                    <a:pt x="-1284" y="37907"/>
                    <a:pt x="510" y="23488"/>
                    <a:pt x="0" y="0"/>
                  </a:cubicBezTo>
                  <a:close/>
                </a:path>
                <a:path w="932688" h="64008" stroke="0" extrusionOk="0">
                  <a:moveTo>
                    <a:pt x="0" y="0"/>
                  </a:moveTo>
                  <a:cubicBezTo>
                    <a:pt x="200156" y="19546"/>
                    <a:pt x="294544" y="-7345"/>
                    <a:pt x="447690" y="0"/>
                  </a:cubicBezTo>
                  <a:cubicBezTo>
                    <a:pt x="600836" y="7345"/>
                    <a:pt x="738317" y="18659"/>
                    <a:pt x="932688" y="0"/>
                  </a:cubicBezTo>
                  <a:cubicBezTo>
                    <a:pt x="930798" y="18002"/>
                    <a:pt x="934551" y="37102"/>
                    <a:pt x="932688" y="64008"/>
                  </a:cubicBezTo>
                  <a:cubicBezTo>
                    <a:pt x="742216" y="82812"/>
                    <a:pt x="616855" y="63230"/>
                    <a:pt x="457017" y="64008"/>
                  </a:cubicBezTo>
                  <a:cubicBezTo>
                    <a:pt x="297179" y="64786"/>
                    <a:pt x="180098" y="47449"/>
                    <a:pt x="0" y="64008"/>
                  </a:cubicBezTo>
                  <a:cubicBezTo>
                    <a:pt x="-80" y="37080"/>
                    <a:pt x="3083" y="147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ctangle 2">
              <a:extLst>
                <a:ext uri="{FF2B5EF4-FFF2-40B4-BE49-F238E27FC236}">
                  <a16:creationId xmlns:a16="http://schemas.microsoft.com/office/drawing/2014/main" id="{68EDF867-323F-44DB-A29A-4E92FBD3BA61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011608"/>
                <a:gd name="connsiteY0" fmla="*/ 0 h 64008"/>
                <a:gd name="connsiteX1" fmla="*/ 475456 w 1011608"/>
                <a:gd name="connsiteY1" fmla="*/ 0 h 64008"/>
                <a:gd name="connsiteX2" fmla="*/ 1011608 w 1011608"/>
                <a:gd name="connsiteY2" fmla="*/ 0 h 64008"/>
                <a:gd name="connsiteX3" fmla="*/ 1011608 w 1011608"/>
                <a:gd name="connsiteY3" fmla="*/ 64008 h 64008"/>
                <a:gd name="connsiteX4" fmla="*/ 495688 w 1011608"/>
                <a:gd name="connsiteY4" fmla="*/ 64008 h 64008"/>
                <a:gd name="connsiteX5" fmla="*/ 0 w 1011608"/>
                <a:gd name="connsiteY5" fmla="*/ 64008 h 64008"/>
                <a:gd name="connsiteX6" fmla="*/ 0 w 101160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1608" h="64008" fill="none" extrusionOk="0">
                  <a:moveTo>
                    <a:pt x="0" y="0"/>
                  </a:moveTo>
                  <a:cubicBezTo>
                    <a:pt x="197554" y="-21691"/>
                    <a:pt x="380014" y="-11599"/>
                    <a:pt x="475456" y="0"/>
                  </a:cubicBezTo>
                  <a:cubicBezTo>
                    <a:pt x="570898" y="11599"/>
                    <a:pt x="782937" y="-5214"/>
                    <a:pt x="1011608" y="0"/>
                  </a:cubicBezTo>
                  <a:cubicBezTo>
                    <a:pt x="1011841" y="15641"/>
                    <a:pt x="1009721" y="34909"/>
                    <a:pt x="1011608" y="64008"/>
                  </a:cubicBezTo>
                  <a:cubicBezTo>
                    <a:pt x="779116" y="85202"/>
                    <a:pt x="615303" y="78058"/>
                    <a:pt x="495688" y="64008"/>
                  </a:cubicBezTo>
                  <a:cubicBezTo>
                    <a:pt x="376073" y="49958"/>
                    <a:pt x="140136" y="47640"/>
                    <a:pt x="0" y="64008"/>
                  </a:cubicBezTo>
                  <a:cubicBezTo>
                    <a:pt x="3173" y="46995"/>
                    <a:pt x="-2625" y="25867"/>
                    <a:pt x="0" y="0"/>
                  </a:cubicBezTo>
                  <a:close/>
                </a:path>
                <a:path w="1011608" h="64008" stroke="0" extrusionOk="0">
                  <a:moveTo>
                    <a:pt x="0" y="0"/>
                  </a:moveTo>
                  <a:cubicBezTo>
                    <a:pt x="187624" y="-17970"/>
                    <a:pt x="388346" y="13916"/>
                    <a:pt x="485572" y="0"/>
                  </a:cubicBezTo>
                  <a:cubicBezTo>
                    <a:pt x="582798" y="-13916"/>
                    <a:pt x="756689" y="9945"/>
                    <a:pt x="1011608" y="0"/>
                  </a:cubicBezTo>
                  <a:cubicBezTo>
                    <a:pt x="1009361" y="30074"/>
                    <a:pt x="1012688" y="42635"/>
                    <a:pt x="1011608" y="64008"/>
                  </a:cubicBezTo>
                  <a:cubicBezTo>
                    <a:pt x="854532" y="57458"/>
                    <a:pt x="733233" y="54927"/>
                    <a:pt x="505804" y="64008"/>
                  </a:cubicBezTo>
                  <a:cubicBezTo>
                    <a:pt x="278375" y="73089"/>
                    <a:pt x="130855" y="42822"/>
                    <a:pt x="0" y="64008"/>
                  </a:cubicBezTo>
                  <a:cubicBezTo>
                    <a:pt x="-3178" y="36820"/>
                    <a:pt x="-2722" y="28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tangle 1">
              <a:extLst>
                <a:ext uri="{FF2B5EF4-FFF2-40B4-BE49-F238E27FC236}">
                  <a16:creationId xmlns:a16="http://schemas.microsoft.com/office/drawing/2014/main" id="{B67F47E9-C361-4324-B2BB-2D78625E4DB6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869092"/>
                <a:gd name="connsiteY0" fmla="*/ 0 h 64008"/>
                <a:gd name="connsiteX1" fmla="*/ 451928 w 869092"/>
                <a:gd name="connsiteY1" fmla="*/ 0 h 64008"/>
                <a:gd name="connsiteX2" fmla="*/ 869092 w 869092"/>
                <a:gd name="connsiteY2" fmla="*/ 0 h 64008"/>
                <a:gd name="connsiteX3" fmla="*/ 869092 w 869092"/>
                <a:gd name="connsiteY3" fmla="*/ 64008 h 64008"/>
                <a:gd name="connsiteX4" fmla="*/ 443237 w 869092"/>
                <a:gd name="connsiteY4" fmla="*/ 64008 h 64008"/>
                <a:gd name="connsiteX5" fmla="*/ 0 w 869092"/>
                <a:gd name="connsiteY5" fmla="*/ 64008 h 64008"/>
                <a:gd name="connsiteX6" fmla="*/ 0 w 869092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092" h="64008" fill="none" extrusionOk="0">
                  <a:moveTo>
                    <a:pt x="0" y="0"/>
                  </a:moveTo>
                  <a:cubicBezTo>
                    <a:pt x="109012" y="18379"/>
                    <a:pt x="348535" y="-18141"/>
                    <a:pt x="451928" y="0"/>
                  </a:cubicBezTo>
                  <a:cubicBezTo>
                    <a:pt x="555321" y="18141"/>
                    <a:pt x="748048" y="-6654"/>
                    <a:pt x="869092" y="0"/>
                  </a:cubicBezTo>
                  <a:cubicBezTo>
                    <a:pt x="872239" y="21123"/>
                    <a:pt x="867620" y="35558"/>
                    <a:pt x="869092" y="64008"/>
                  </a:cubicBezTo>
                  <a:cubicBezTo>
                    <a:pt x="682938" y="74288"/>
                    <a:pt x="584473" y="51890"/>
                    <a:pt x="443237" y="64008"/>
                  </a:cubicBezTo>
                  <a:cubicBezTo>
                    <a:pt x="302002" y="76126"/>
                    <a:pt x="150286" y="50849"/>
                    <a:pt x="0" y="64008"/>
                  </a:cubicBezTo>
                  <a:cubicBezTo>
                    <a:pt x="-2411" y="33843"/>
                    <a:pt x="1447" y="23221"/>
                    <a:pt x="0" y="0"/>
                  </a:cubicBezTo>
                  <a:close/>
                </a:path>
                <a:path w="869092" h="64008" stroke="0" extrusionOk="0">
                  <a:moveTo>
                    <a:pt x="0" y="0"/>
                  </a:moveTo>
                  <a:cubicBezTo>
                    <a:pt x="154071" y="-18764"/>
                    <a:pt x="254687" y="20448"/>
                    <a:pt x="425855" y="0"/>
                  </a:cubicBezTo>
                  <a:cubicBezTo>
                    <a:pt x="597023" y="-20448"/>
                    <a:pt x="739597" y="3820"/>
                    <a:pt x="869092" y="0"/>
                  </a:cubicBezTo>
                  <a:cubicBezTo>
                    <a:pt x="870588" y="25188"/>
                    <a:pt x="869529" y="50929"/>
                    <a:pt x="869092" y="64008"/>
                  </a:cubicBezTo>
                  <a:cubicBezTo>
                    <a:pt x="728868" y="65134"/>
                    <a:pt x="620845" y="85554"/>
                    <a:pt x="434546" y="64008"/>
                  </a:cubicBezTo>
                  <a:cubicBezTo>
                    <a:pt x="248247" y="42462"/>
                    <a:pt x="134031" y="80743"/>
                    <a:pt x="0" y="64008"/>
                  </a:cubicBezTo>
                  <a:cubicBezTo>
                    <a:pt x="-2503" y="44586"/>
                    <a:pt x="3172" y="2066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63" name="Wifi Signal Icon" descr="Signal">
            <a:extLst>
              <a:ext uri="{FF2B5EF4-FFF2-40B4-BE49-F238E27FC236}">
                <a16:creationId xmlns:a16="http://schemas.microsoft.com/office/drawing/2014/main" id="{2DE30866-A9FC-4530-AB49-32A4A4F3CF4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231791" y="2057563"/>
            <a:ext cx="271471" cy="271472"/>
          </a:xfrm>
          <a:prstGeom prst="rect">
            <a:avLst/>
          </a:prstGeom>
        </p:spPr>
      </p:pic>
      <p:pic>
        <p:nvPicPr>
          <p:cNvPr id="164" name="Person Icon" descr="User">
            <a:extLst>
              <a:ext uri="{FF2B5EF4-FFF2-40B4-BE49-F238E27FC236}">
                <a16:creationId xmlns:a16="http://schemas.microsoft.com/office/drawing/2014/main" id="{06903C88-2065-481A-834B-BEA704837BA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13876" y="2061274"/>
            <a:ext cx="271471" cy="271472"/>
          </a:xfrm>
          <a:prstGeom prst="rect">
            <a:avLst/>
          </a:prstGeom>
        </p:spPr>
      </p:pic>
      <p:pic>
        <p:nvPicPr>
          <p:cNvPr id="165" name="Home Icon" descr="Home">
            <a:extLst>
              <a:ext uri="{FF2B5EF4-FFF2-40B4-BE49-F238E27FC236}">
                <a16:creationId xmlns:a16="http://schemas.microsoft.com/office/drawing/2014/main" id="{A409DE43-6CDB-4D97-BAF9-0F90590B982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58077" y="2048518"/>
            <a:ext cx="271471" cy="271472"/>
          </a:xfrm>
          <a:prstGeom prst="rect">
            <a:avLst/>
          </a:prstGeom>
        </p:spPr>
      </p:pic>
      <p:sp>
        <p:nvSpPr>
          <p:cNvPr id="166" name="Placeholder Text 1">
            <a:extLst>
              <a:ext uri="{FF2B5EF4-FFF2-40B4-BE49-F238E27FC236}">
                <a16:creationId xmlns:a16="http://schemas.microsoft.com/office/drawing/2014/main" id="{94DF7486-46F3-4E11-A24C-2FCB01EC6FF3}"/>
              </a:ext>
            </a:extLst>
          </p:cNvPr>
          <p:cNvSpPr txBox="1"/>
          <p:nvPr/>
        </p:nvSpPr>
        <p:spPr>
          <a:xfrm>
            <a:off x="539816" y="2313519"/>
            <a:ext cx="100827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ft-to-right: Home Page, Group Details Page, Data Page</a:t>
            </a:r>
          </a:p>
        </p:txBody>
      </p:sp>
      <p:pic>
        <p:nvPicPr>
          <p:cNvPr id="167" name="Wifi Signal Icon" descr="Signal">
            <a:extLst>
              <a:ext uri="{FF2B5EF4-FFF2-40B4-BE49-F238E27FC236}">
                <a16:creationId xmlns:a16="http://schemas.microsoft.com/office/drawing/2014/main" id="{8C3C27F0-9F45-4C00-8DB0-F2C5831A363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277801" y="2345746"/>
            <a:ext cx="271471" cy="271472"/>
          </a:xfrm>
          <a:prstGeom prst="rect">
            <a:avLst/>
          </a:prstGeom>
        </p:spPr>
      </p:pic>
      <p:pic>
        <p:nvPicPr>
          <p:cNvPr id="168" name="Person Icon" descr="User">
            <a:extLst>
              <a:ext uri="{FF2B5EF4-FFF2-40B4-BE49-F238E27FC236}">
                <a16:creationId xmlns:a16="http://schemas.microsoft.com/office/drawing/2014/main" id="{8B572B25-8498-47EE-B88A-1AF50089B7E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959886" y="2349457"/>
            <a:ext cx="271471" cy="271472"/>
          </a:xfrm>
          <a:prstGeom prst="rect">
            <a:avLst/>
          </a:prstGeom>
        </p:spPr>
      </p:pic>
      <p:pic>
        <p:nvPicPr>
          <p:cNvPr id="169" name="Home Icon" descr="Home">
            <a:extLst>
              <a:ext uri="{FF2B5EF4-FFF2-40B4-BE49-F238E27FC236}">
                <a16:creationId xmlns:a16="http://schemas.microsoft.com/office/drawing/2014/main" id="{90FA0E9F-472D-4976-BBBC-0776118F873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604087" y="2336701"/>
            <a:ext cx="271471" cy="27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295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955BCE-1795-4CD9-AA49-141BC3292A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088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955BCE-1795-4CD9-AA49-141BC3292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" name="Slide Title">
            <a:extLst>
              <a:ext uri="{FF2B5EF4-FFF2-40B4-BE49-F238E27FC236}">
                <a16:creationId xmlns:a16="http://schemas.microsoft.com/office/drawing/2014/main" id="{A146AB45-9755-44A2-B735-37D28433F9F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45907" y="502365"/>
            <a:ext cx="6885807" cy="77733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ain Page</a:t>
            </a:r>
          </a:p>
        </p:txBody>
      </p:sp>
      <p:grpSp>
        <p:nvGrpSpPr>
          <p:cNvPr id="17" name="Tablet Device Outline" descr="A mockup of website interface on a tablet.">
            <a:extLst>
              <a:ext uri="{FF2B5EF4-FFF2-40B4-BE49-F238E27FC236}">
                <a16:creationId xmlns:a16="http://schemas.microsoft.com/office/drawing/2014/main" id="{A1F0DC25-F6FE-4EFA-920C-7F66BB83FADA}"/>
              </a:ext>
            </a:extLst>
          </p:cNvPr>
          <p:cNvGrpSpPr/>
          <p:nvPr/>
        </p:nvGrpSpPr>
        <p:grpSpPr>
          <a:xfrm>
            <a:off x="248123" y="1439097"/>
            <a:ext cx="6884027" cy="4853837"/>
            <a:chOff x="2241176" y="394364"/>
            <a:chExt cx="8606117" cy="6068060"/>
          </a:xfrm>
        </p:grpSpPr>
        <p:grpSp>
          <p:nvGrpSpPr>
            <p:cNvPr id="12" name="Address Bar Header">
              <a:extLst>
                <a:ext uri="{FF2B5EF4-FFF2-40B4-BE49-F238E27FC236}">
                  <a16:creationId xmlns:a16="http://schemas.microsoft.com/office/drawing/2014/main" id="{37CF4F67-58F9-4797-8C95-9438AD34E693}"/>
                </a:ext>
              </a:extLst>
            </p:cNvPr>
            <p:cNvGrpSpPr/>
            <p:nvPr/>
          </p:nvGrpSpPr>
          <p:grpSpPr>
            <a:xfrm>
              <a:off x="2547215" y="716132"/>
              <a:ext cx="7667327" cy="332305"/>
              <a:chOff x="4952557" y="2266350"/>
              <a:chExt cx="5633142" cy="244143"/>
            </a:xfrm>
          </p:grpSpPr>
          <p:sp>
            <p:nvSpPr>
              <p:cNvPr id="517" name="Address Bar Header Full Background">
                <a:extLst>
                  <a:ext uri="{FF2B5EF4-FFF2-40B4-BE49-F238E27FC236}">
                    <a16:creationId xmlns:a16="http://schemas.microsoft.com/office/drawing/2014/main" id="{815F0436-ABE1-41F9-BF38-7F677BC89B8A}"/>
                  </a:ext>
                </a:extLst>
              </p:cNvPr>
              <p:cNvSpPr/>
              <p:nvPr/>
            </p:nvSpPr>
            <p:spPr>
              <a:xfrm>
                <a:off x="4969003" y="2266350"/>
                <a:ext cx="5592857" cy="211612"/>
              </a:xfrm>
              <a:prstGeom prst="rect">
                <a:avLst/>
              </a:prstGeom>
              <a:solidFill>
                <a:srgbClr val="CBC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18" name="See All Tabs Icon">
                <a:extLst>
                  <a:ext uri="{FF2B5EF4-FFF2-40B4-BE49-F238E27FC236}">
                    <a16:creationId xmlns:a16="http://schemas.microsoft.com/office/drawing/2014/main" id="{7D56C874-0241-4160-BDA3-F0520D25A569}"/>
                  </a:ext>
                </a:extLst>
              </p:cNvPr>
              <p:cNvGrpSpPr/>
              <p:nvPr/>
            </p:nvGrpSpPr>
            <p:grpSpPr>
              <a:xfrm>
                <a:off x="5026608" y="2276890"/>
                <a:ext cx="74136" cy="73515"/>
                <a:chOff x="4561159" y="1229706"/>
                <a:chExt cx="107805" cy="106902"/>
              </a:xfrm>
            </p:grpSpPr>
            <p:pic>
              <p:nvPicPr>
                <p:cNvPr id="555" name="Website Icon 2" descr="Browser window">
                  <a:extLst>
                    <a:ext uri="{FF2B5EF4-FFF2-40B4-BE49-F238E27FC236}">
                      <a16:creationId xmlns:a16="http://schemas.microsoft.com/office/drawing/2014/main" id="{8DF59F83-0501-43FA-B645-E929C06D97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61159" y="1229706"/>
                  <a:ext cx="91821" cy="91821"/>
                </a:xfrm>
                <a:prstGeom prst="rect">
                  <a:avLst/>
                </a:prstGeom>
              </p:spPr>
            </p:pic>
            <p:pic>
              <p:nvPicPr>
                <p:cNvPr id="556" name="Website Icon 1" descr="Browser window">
                  <a:extLst>
                    <a:ext uri="{FF2B5EF4-FFF2-40B4-BE49-F238E27FC236}">
                      <a16:creationId xmlns:a16="http://schemas.microsoft.com/office/drawing/2014/main" id="{47503B5F-13A0-40D6-B515-5E324590A1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7143" y="1244787"/>
                  <a:ext cx="91821" cy="91821"/>
                </a:xfrm>
                <a:prstGeom prst="rect">
                  <a:avLst/>
                </a:prstGeom>
              </p:spPr>
            </p:pic>
            <p:sp>
              <p:nvSpPr>
                <p:cNvPr id="557" name="Rectangle">
                  <a:extLst>
                    <a:ext uri="{FF2B5EF4-FFF2-40B4-BE49-F238E27FC236}">
                      <a16:creationId xmlns:a16="http://schemas.microsoft.com/office/drawing/2014/main" id="{D5823150-B2F7-4EF1-8DE5-C38BCDECB873}"/>
                    </a:ext>
                  </a:extLst>
                </p:cNvPr>
                <p:cNvSpPr/>
                <p:nvPr/>
              </p:nvSpPr>
              <p:spPr>
                <a:xfrm>
                  <a:off x="4589484" y="1274842"/>
                  <a:ext cx="64008" cy="36576"/>
                </a:xfrm>
                <a:prstGeom prst="rect">
                  <a:avLst/>
                </a:prstGeom>
                <a:solidFill>
                  <a:srgbClr val="CBCB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19" name="Dropdown Arrow">
                <a:extLst>
                  <a:ext uri="{FF2B5EF4-FFF2-40B4-BE49-F238E27FC236}">
                    <a16:creationId xmlns:a16="http://schemas.microsoft.com/office/drawing/2014/main" id="{6BAFFFB0-3669-464B-BA89-B02DD7F5A04C}"/>
                  </a:ext>
                </a:extLst>
              </p:cNvPr>
              <p:cNvGrpSpPr/>
              <p:nvPr/>
            </p:nvGrpSpPr>
            <p:grpSpPr>
              <a:xfrm rot="18531467">
                <a:off x="5924692" y="2300805"/>
                <a:ext cx="31986" cy="31986"/>
                <a:chOff x="1411369" y="3109610"/>
                <a:chExt cx="182868" cy="191529"/>
              </a:xfrm>
            </p:grpSpPr>
            <p:cxnSp>
              <p:nvCxnSpPr>
                <p:cNvPr id="553" name="Line 2">
                  <a:extLst>
                    <a:ext uri="{FF2B5EF4-FFF2-40B4-BE49-F238E27FC236}">
                      <a16:creationId xmlns:a16="http://schemas.microsoft.com/office/drawing/2014/main" id="{61857E4E-E51E-4009-9E85-52C0D05E83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4" name="Line 1">
                  <a:extLst>
                    <a:ext uri="{FF2B5EF4-FFF2-40B4-BE49-F238E27FC236}">
                      <a16:creationId xmlns:a16="http://schemas.microsoft.com/office/drawing/2014/main" id="{0FAB30C5-6C5F-4FFE-9A93-2882BF9751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0" name="Address Bar Header Background">
                <a:extLst>
                  <a:ext uri="{FF2B5EF4-FFF2-40B4-BE49-F238E27FC236}">
                    <a16:creationId xmlns:a16="http://schemas.microsoft.com/office/drawing/2014/main" id="{C7F3D26F-C694-43A0-BBB9-089EBC5D897F}"/>
                  </a:ext>
                </a:extLst>
              </p:cNvPr>
              <p:cNvSpPr/>
              <p:nvPr/>
            </p:nvSpPr>
            <p:spPr>
              <a:xfrm>
                <a:off x="4952557" y="2352880"/>
                <a:ext cx="5633142" cy="146768"/>
              </a:xfrm>
              <a:custGeom>
                <a:avLst/>
                <a:gdLst>
                  <a:gd name="connsiteX0" fmla="*/ 0 w 5633142"/>
                  <a:gd name="connsiteY0" fmla="*/ 0 h 146768"/>
                  <a:gd name="connsiteX1" fmla="*/ 513242 w 5633142"/>
                  <a:gd name="connsiteY1" fmla="*/ 0 h 146768"/>
                  <a:gd name="connsiteX2" fmla="*/ 1082815 w 5633142"/>
                  <a:gd name="connsiteY2" fmla="*/ 0 h 146768"/>
                  <a:gd name="connsiteX3" fmla="*/ 1596057 w 5633142"/>
                  <a:gd name="connsiteY3" fmla="*/ 0 h 146768"/>
                  <a:gd name="connsiteX4" fmla="*/ 2278293 w 5633142"/>
                  <a:gd name="connsiteY4" fmla="*/ 0 h 146768"/>
                  <a:gd name="connsiteX5" fmla="*/ 2904198 w 5633142"/>
                  <a:gd name="connsiteY5" fmla="*/ 0 h 146768"/>
                  <a:gd name="connsiteX6" fmla="*/ 3530102 w 5633142"/>
                  <a:gd name="connsiteY6" fmla="*/ 0 h 146768"/>
                  <a:gd name="connsiteX7" fmla="*/ 4268670 w 5633142"/>
                  <a:gd name="connsiteY7" fmla="*/ 0 h 146768"/>
                  <a:gd name="connsiteX8" fmla="*/ 4950906 w 5633142"/>
                  <a:gd name="connsiteY8" fmla="*/ 0 h 146768"/>
                  <a:gd name="connsiteX9" fmla="*/ 5633142 w 5633142"/>
                  <a:gd name="connsiteY9" fmla="*/ 0 h 146768"/>
                  <a:gd name="connsiteX10" fmla="*/ 5633142 w 5633142"/>
                  <a:gd name="connsiteY10" fmla="*/ 146768 h 146768"/>
                  <a:gd name="connsiteX11" fmla="*/ 5176232 w 5633142"/>
                  <a:gd name="connsiteY11" fmla="*/ 146768 h 146768"/>
                  <a:gd name="connsiteX12" fmla="*/ 4662990 w 5633142"/>
                  <a:gd name="connsiteY12" fmla="*/ 146768 h 146768"/>
                  <a:gd name="connsiteX13" fmla="*/ 3980754 w 5633142"/>
                  <a:gd name="connsiteY13" fmla="*/ 146768 h 146768"/>
                  <a:gd name="connsiteX14" fmla="*/ 3242186 w 5633142"/>
                  <a:gd name="connsiteY14" fmla="*/ 146768 h 146768"/>
                  <a:gd name="connsiteX15" fmla="*/ 2672613 w 5633142"/>
                  <a:gd name="connsiteY15" fmla="*/ 146768 h 146768"/>
                  <a:gd name="connsiteX16" fmla="*/ 1934045 w 5633142"/>
                  <a:gd name="connsiteY16" fmla="*/ 146768 h 146768"/>
                  <a:gd name="connsiteX17" fmla="*/ 1420804 w 5633142"/>
                  <a:gd name="connsiteY17" fmla="*/ 146768 h 146768"/>
                  <a:gd name="connsiteX18" fmla="*/ 963893 w 5633142"/>
                  <a:gd name="connsiteY18" fmla="*/ 146768 h 146768"/>
                  <a:gd name="connsiteX19" fmla="*/ 0 w 5633142"/>
                  <a:gd name="connsiteY19" fmla="*/ 146768 h 146768"/>
                  <a:gd name="connsiteX20" fmla="*/ 0 w 5633142"/>
                  <a:gd name="connsiteY20" fmla="*/ 0 h 14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33142" h="146768" fill="none" extrusionOk="0">
                    <a:moveTo>
                      <a:pt x="0" y="0"/>
                    </a:moveTo>
                    <a:cubicBezTo>
                      <a:pt x="204862" y="16262"/>
                      <a:pt x="264489" y="5114"/>
                      <a:pt x="513242" y="0"/>
                    </a:cubicBezTo>
                    <a:cubicBezTo>
                      <a:pt x="761995" y="-5114"/>
                      <a:pt x="838640" y="1136"/>
                      <a:pt x="1082815" y="0"/>
                    </a:cubicBezTo>
                    <a:cubicBezTo>
                      <a:pt x="1326990" y="-1136"/>
                      <a:pt x="1384926" y="1296"/>
                      <a:pt x="1596057" y="0"/>
                    </a:cubicBezTo>
                    <a:cubicBezTo>
                      <a:pt x="1807188" y="-1296"/>
                      <a:pt x="1961283" y="-951"/>
                      <a:pt x="2278293" y="0"/>
                    </a:cubicBezTo>
                    <a:cubicBezTo>
                      <a:pt x="2595303" y="951"/>
                      <a:pt x="2708047" y="-4796"/>
                      <a:pt x="2904198" y="0"/>
                    </a:cubicBezTo>
                    <a:cubicBezTo>
                      <a:pt x="3100349" y="4796"/>
                      <a:pt x="3404605" y="-22152"/>
                      <a:pt x="3530102" y="0"/>
                    </a:cubicBezTo>
                    <a:cubicBezTo>
                      <a:pt x="3655599" y="22152"/>
                      <a:pt x="3969305" y="8165"/>
                      <a:pt x="4268670" y="0"/>
                    </a:cubicBezTo>
                    <a:cubicBezTo>
                      <a:pt x="4568035" y="-8165"/>
                      <a:pt x="4643779" y="6639"/>
                      <a:pt x="4950906" y="0"/>
                    </a:cubicBezTo>
                    <a:cubicBezTo>
                      <a:pt x="5258033" y="-6639"/>
                      <a:pt x="5447660" y="-22788"/>
                      <a:pt x="5633142" y="0"/>
                    </a:cubicBezTo>
                    <a:cubicBezTo>
                      <a:pt x="5628902" y="66055"/>
                      <a:pt x="5637247" y="98292"/>
                      <a:pt x="5633142" y="146768"/>
                    </a:cubicBezTo>
                    <a:cubicBezTo>
                      <a:pt x="5484023" y="133466"/>
                      <a:pt x="5378091" y="139672"/>
                      <a:pt x="5176232" y="146768"/>
                    </a:cubicBezTo>
                    <a:cubicBezTo>
                      <a:pt x="4974373" y="153865"/>
                      <a:pt x="4786230" y="137056"/>
                      <a:pt x="4662990" y="146768"/>
                    </a:cubicBezTo>
                    <a:cubicBezTo>
                      <a:pt x="4539750" y="156480"/>
                      <a:pt x="4228921" y="168795"/>
                      <a:pt x="3980754" y="146768"/>
                    </a:cubicBezTo>
                    <a:cubicBezTo>
                      <a:pt x="3732587" y="124741"/>
                      <a:pt x="3577943" y="131533"/>
                      <a:pt x="3242186" y="146768"/>
                    </a:cubicBezTo>
                    <a:cubicBezTo>
                      <a:pt x="2906429" y="162003"/>
                      <a:pt x="2874932" y="131901"/>
                      <a:pt x="2672613" y="146768"/>
                    </a:cubicBezTo>
                    <a:cubicBezTo>
                      <a:pt x="2470294" y="161635"/>
                      <a:pt x="2118789" y="163689"/>
                      <a:pt x="1934045" y="146768"/>
                    </a:cubicBezTo>
                    <a:cubicBezTo>
                      <a:pt x="1749301" y="129847"/>
                      <a:pt x="1606352" y="140685"/>
                      <a:pt x="1420804" y="146768"/>
                    </a:cubicBezTo>
                    <a:cubicBezTo>
                      <a:pt x="1235256" y="152851"/>
                      <a:pt x="1110526" y="169509"/>
                      <a:pt x="963893" y="146768"/>
                    </a:cubicBezTo>
                    <a:cubicBezTo>
                      <a:pt x="817260" y="124027"/>
                      <a:pt x="198706" y="113897"/>
                      <a:pt x="0" y="146768"/>
                    </a:cubicBezTo>
                    <a:cubicBezTo>
                      <a:pt x="-5920" y="97231"/>
                      <a:pt x="-6953" y="33004"/>
                      <a:pt x="0" y="0"/>
                    </a:cubicBezTo>
                    <a:close/>
                  </a:path>
                  <a:path w="5633142" h="146768" stroke="0" extrusionOk="0">
                    <a:moveTo>
                      <a:pt x="0" y="0"/>
                    </a:moveTo>
                    <a:cubicBezTo>
                      <a:pt x="148644" y="1371"/>
                      <a:pt x="293563" y="-9672"/>
                      <a:pt x="569573" y="0"/>
                    </a:cubicBezTo>
                    <a:cubicBezTo>
                      <a:pt x="845583" y="9672"/>
                      <a:pt x="839592" y="-3139"/>
                      <a:pt x="1026484" y="0"/>
                    </a:cubicBezTo>
                    <a:cubicBezTo>
                      <a:pt x="1213376" y="3139"/>
                      <a:pt x="1498009" y="26420"/>
                      <a:pt x="1765051" y="0"/>
                    </a:cubicBezTo>
                    <a:cubicBezTo>
                      <a:pt x="2032093" y="-26420"/>
                      <a:pt x="2058733" y="10319"/>
                      <a:pt x="2334624" y="0"/>
                    </a:cubicBezTo>
                    <a:cubicBezTo>
                      <a:pt x="2610515" y="-10319"/>
                      <a:pt x="2687815" y="17650"/>
                      <a:pt x="2904198" y="0"/>
                    </a:cubicBezTo>
                    <a:cubicBezTo>
                      <a:pt x="3120581" y="-17650"/>
                      <a:pt x="3398193" y="-13612"/>
                      <a:pt x="3642765" y="0"/>
                    </a:cubicBezTo>
                    <a:cubicBezTo>
                      <a:pt x="3887337" y="13612"/>
                      <a:pt x="3980221" y="7506"/>
                      <a:pt x="4156007" y="0"/>
                    </a:cubicBezTo>
                    <a:cubicBezTo>
                      <a:pt x="4331793" y="-7506"/>
                      <a:pt x="4563348" y="17526"/>
                      <a:pt x="4894574" y="0"/>
                    </a:cubicBezTo>
                    <a:cubicBezTo>
                      <a:pt x="5225800" y="-17526"/>
                      <a:pt x="5340001" y="-465"/>
                      <a:pt x="5633142" y="0"/>
                    </a:cubicBezTo>
                    <a:cubicBezTo>
                      <a:pt x="5627709" y="34083"/>
                      <a:pt x="5639293" y="114997"/>
                      <a:pt x="5633142" y="146768"/>
                    </a:cubicBezTo>
                    <a:cubicBezTo>
                      <a:pt x="5496951" y="163980"/>
                      <a:pt x="5144508" y="142130"/>
                      <a:pt x="5007237" y="146768"/>
                    </a:cubicBezTo>
                    <a:cubicBezTo>
                      <a:pt x="4869966" y="151406"/>
                      <a:pt x="4602510" y="118710"/>
                      <a:pt x="4437664" y="146768"/>
                    </a:cubicBezTo>
                    <a:cubicBezTo>
                      <a:pt x="4272818" y="174826"/>
                      <a:pt x="3853725" y="149912"/>
                      <a:pt x="3699097" y="146768"/>
                    </a:cubicBezTo>
                    <a:cubicBezTo>
                      <a:pt x="3544469" y="143624"/>
                      <a:pt x="3314703" y="175455"/>
                      <a:pt x="2960529" y="146768"/>
                    </a:cubicBezTo>
                    <a:cubicBezTo>
                      <a:pt x="2606355" y="118081"/>
                      <a:pt x="2619012" y="164377"/>
                      <a:pt x="2447287" y="146768"/>
                    </a:cubicBezTo>
                    <a:cubicBezTo>
                      <a:pt x="2275562" y="129159"/>
                      <a:pt x="2067453" y="123852"/>
                      <a:pt x="1821383" y="146768"/>
                    </a:cubicBezTo>
                    <a:cubicBezTo>
                      <a:pt x="1575313" y="169684"/>
                      <a:pt x="1337110" y="135445"/>
                      <a:pt x="1082815" y="146768"/>
                    </a:cubicBezTo>
                    <a:cubicBezTo>
                      <a:pt x="828520" y="158091"/>
                      <a:pt x="511108" y="179422"/>
                      <a:pt x="0" y="146768"/>
                    </a:cubicBezTo>
                    <a:cubicBezTo>
                      <a:pt x="-5267" y="109840"/>
                      <a:pt x="-6821" y="65565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1" name="Address Bar Background">
                <a:extLst>
                  <a:ext uri="{FF2B5EF4-FFF2-40B4-BE49-F238E27FC236}">
                    <a16:creationId xmlns:a16="http://schemas.microsoft.com/office/drawing/2014/main" id="{685B39F9-DBA3-4302-80A8-FC56EFE248E6}"/>
                  </a:ext>
                </a:extLst>
              </p:cNvPr>
              <p:cNvSpPr/>
              <p:nvPr/>
            </p:nvSpPr>
            <p:spPr>
              <a:xfrm>
                <a:off x="5514057" y="2383243"/>
                <a:ext cx="4598543" cy="84902"/>
              </a:xfrm>
              <a:custGeom>
                <a:avLst/>
                <a:gdLst>
                  <a:gd name="connsiteX0" fmla="*/ 0 w 4598543"/>
                  <a:gd name="connsiteY0" fmla="*/ 0 h 84902"/>
                  <a:gd name="connsiteX1" fmla="*/ 610949 w 4598543"/>
                  <a:gd name="connsiteY1" fmla="*/ 0 h 84902"/>
                  <a:gd name="connsiteX2" fmla="*/ 1129928 w 4598543"/>
                  <a:gd name="connsiteY2" fmla="*/ 0 h 84902"/>
                  <a:gd name="connsiteX3" fmla="*/ 1694892 w 4598543"/>
                  <a:gd name="connsiteY3" fmla="*/ 0 h 84902"/>
                  <a:gd name="connsiteX4" fmla="*/ 2397812 w 4598543"/>
                  <a:gd name="connsiteY4" fmla="*/ 0 h 84902"/>
                  <a:gd name="connsiteX5" fmla="*/ 3008761 w 4598543"/>
                  <a:gd name="connsiteY5" fmla="*/ 0 h 84902"/>
                  <a:gd name="connsiteX6" fmla="*/ 3573725 w 4598543"/>
                  <a:gd name="connsiteY6" fmla="*/ 0 h 84902"/>
                  <a:gd name="connsiteX7" fmla="*/ 4598543 w 4598543"/>
                  <a:gd name="connsiteY7" fmla="*/ 0 h 84902"/>
                  <a:gd name="connsiteX8" fmla="*/ 4598543 w 4598543"/>
                  <a:gd name="connsiteY8" fmla="*/ 84902 h 84902"/>
                  <a:gd name="connsiteX9" fmla="*/ 3941608 w 4598543"/>
                  <a:gd name="connsiteY9" fmla="*/ 84902 h 84902"/>
                  <a:gd name="connsiteX10" fmla="*/ 3376644 w 4598543"/>
                  <a:gd name="connsiteY10" fmla="*/ 84902 h 84902"/>
                  <a:gd name="connsiteX11" fmla="*/ 2627739 w 4598543"/>
                  <a:gd name="connsiteY11" fmla="*/ 84902 h 84902"/>
                  <a:gd name="connsiteX12" fmla="*/ 2016790 w 4598543"/>
                  <a:gd name="connsiteY12" fmla="*/ 84902 h 84902"/>
                  <a:gd name="connsiteX13" fmla="*/ 1497811 w 4598543"/>
                  <a:gd name="connsiteY13" fmla="*/ 84902 h 84902"/>
                  <a:gd name="connsiteX14" fmla="*/ 794891 w 4598543"/>
                  <a:gd name="connsiteY14" fmla="*/ 84902 h 84902"/>
                  <a:gd name="connsiteX15" fmla="*/ 0 w 4598543"/>
                  <a:gd name="connsiteY15" fmla="*/ 84902 h 84902"/>
                  <a:gd name="connsiteX16" fmla="*/ 0 w 4598543"/>
                  <a:gd name="connsiteY16" fmla="*/ 0 h 8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98543" h="84902" fill="none" extrusionOk="0">
                    <a:moveTo>
                      <a:pt x="0" y="0"/>
                    </a:moveTo>
                    <a:cubicBezTo>
                      <a:pt x="229289" y="29538"/>
                      <a:pt x="371415" y="15539"/>
                      <a:pt x="610949" y="0"/>
                    </a:cubicBezTo>
                    <a:cubicBezTo>
                      <a:pt x="850483" y="-15539"/>
                      <a:pt x="931980" y="12751"/>
                      <a:pt x="1129928" y="0"/>
                    </a:cubicBezTo>
                    <a:cubicBezTo>
                      <a:pt x="1327876" y="-12751"/>
                      <a:pt x="1567951" y="12195"/>
                      <a:pt x="1694892" y="0"/>
                    </a:cubicBezTo>
                    <a:cubicBezTo>
                      <a:pt x="1821833" y="-12195"/>
                      <a:pt x="2234916" y="14365"/>
                      <a:pt x="2397812" y="0"/>
                    </a:cubicBezTo>
                    <a:cubicBezTo>
                      <a:pt x="2560708" y="-14365"/>
                      <a:pt x="2872586" y="-26857"/>
                      <a:pt x="3008761" y="0"/>
                    </a:cubicBezTo>
                    <a:cubicBezTo>
                      <a:pt x="3144936" y="26857"/>
                      <a:pt x="3390778" y="15504"/>
                      <a:pt x="3573725" y="0"/>
                    </a:cubicBezTo>
                    <a:cubicBezTo>
                      <a:pt x="3756672" y="-15504"/>
                      <a:pt x="4328979" y="-45536"/>
                      <a:pt x="4598543" y="0"/>
                    </a:cubicBezTo>
                    <a:cubicBezTo>
                      <a:pt x="4597981" y="27104"/>
                      <a:pt x="4597947" y="55244"/>
                      <a:pt x="4598543" y="84902"/>
                    </a:cubicBezTo>
                    <a:cubicBezTo>
                      <a:pt x="4440768" y="109646"/>
                      <a:pt x="4152441" y="77600"/>
                      <a:pt x="3941608" y="84902"/>
                    </a:cubicBezTo>
                    <a:cubicBezTo>
                      <a:pt x="3730775" y="92204"/>
                      <a:pt x="3500145" y="98289"/>
                      <a:pt x="3376644" y="84902"/>
                    </a:cubicBezTo>
                    <a:cubicBezTo>
                      <a:pt x="3253143" y="71515"/>
                      <a:pt x="2907306" y="69637"/>
                      <a:pt x="2627739" y="84902"/>
                    </a:cubicBezTo>
                    <a:cubicBezTo>
                      <a:pt x="2348172" y="100167"/>
                      <a:pt x="2240997" y="67000"/>
                      <a:pt x="2016790" y="84902"/>
                    </a:cubicBezTo>
                    <a:cubicBezTo>
                      <a:pt x="1792583" y="102804"/>
                      <a:pt x="1627031" y="103306"/>
                      <a:pt x="1497811" y="84902"/>
                    </a:cubicBezTo>
                    <a:cubicBezTo>
                      <a:pt x="1368591" y="66498"/>
                      <a:pt x="1061985" y="63908"/>
                      <a:pt x="794891" y="84902"/>
                    </a:cubicBezTo>
                    <a:cubicBezTo>
                      <a:pt x="527797" y="105896"/>
                      <a:pt x="174920" y="75817"/>
                      <a:pt x="0" y="84902"/>
                    </a:cubicBezTo>
                    <a:cubicBezTo>
                      <a:pt x="337" y="52542"/>
                      <a:pt x="582" y="27801"/>
                      <a:pt x="0" y="0"/>
                    </a:cubicBezTo>
                    <a:close/>
                  </a:path>
                  <a:path w="4598543" h="84902" stroke="0" extrusionOk="0">
                    <a:moveTo>
                      <a:pt x="0" y="0"/>
                    </a:moveTo>
                    <a:cubicBezTo>
                      <a:pt x="245075" y="-24510"/>
                      <a:pt x="422041" y="-10520"/>
                      <a:pt x="610949" y="0"/>
                    </a:cubicBezTo>
                    <a:cubicBezTo>
                      <a:pt x="799857" y="10520"/>
                      <a:pt x="962339" y="16190"/>
                      <a:pt x="1129928" y="0"/>
                    </a:cubicBezTo>
                    <a:cubicBezTo>
                      <a:pt x="1297517" y="-16190"/>
                      <a:pt x="1526038" y="-13170"/>
                      <a:pt x="1878833" y="0"/>
                    </a:cubicBezTo>
                    <a:cubicBezTo>
                      <a:pt x="2231628" y="13170"/>
                      <a:pt x="2188071" y="28736"/>
                      <a:pt x="2489783" y="0"/>
                    </a:cubicBezTo>
                    <a:cubicBezTo>
                      <a:pt x="2791495" y="-28736"/>
                      <a:pt x="2904857" y="11873"/>
                      <a:pt x="3100732" y="0"/>
                    </a:cubicBezTo>
                    <a:cubicBezTo>
                      <a:pt x="3296607" y="-11873"/>
                      <a:pt x="3541313" y="-26790"/>
                      <a:pt x="3849637" y="0"/>
                    </a:cubicBezTo>
                    <a:cubicBezTo>
                      <a:pt x="4157962" y="26790"/>
                      <a:pt x="4355737" y="-2018"/>
                      <a:pt x="4598543" y="0"/>
                    </a:cubicBezTo>
                    <a:cubicBezTo>
                      <a:pt x="4596535" y="40259"/>
                      <a:pt x="4596753" y="47653"/>
                      <a:pt x="4598543" y="84902"/>
                    </a:cubicBezTo>
                    <a:cubicBezTo>
                      <a:pt x="4334393" y="77125"/>
                      <a:pt x="4238877" y="85386"/>
                      <a:pt x="4033579" y="84902"/>
                    </a:cubicBezTo>
                    <a:cubicBezTo>
                      <a:pt x="3828281" y="84418"/>
                      <a:pt x="3580556" y="97925"/>
                      <a:pt x="3376644" y="84902"/>
                    </a:cubicBezTo>
                    <a:cubicBezTo>
                      <a:pt x="3172732" y="71879"/>
                      <a:pt x="3019455" y="55316"/>
                      <a:pt x="2719710" y="84902"/>
                    </a:cubicBezTo>
                    <a:cubicBezTo>
                      <a:pt x="2419965" y="114488"/>
                      <a:pt x="2297015" y="106137"/>
                      <a:pt x="2108760" y="84902"/>
                    </a:cubicBezTo>
                    <a:cubicBezTo>
                      <a:pt x="1920505" y="63668"/>
                      <a:pt x="1577513" y="68128"/>
                      <a:pt x="1359855" y="84902"/>
                    </a:cubicBezTo>
                    <a:cubicBezTo>
                      <a:pt x="1142198" y="101676"/>
                      <a:pt x="944349" y="66361"/>
                      <a:pt x="610949" y="84902"/>
                    </a:cubicBezTo>
                    <a:cubicBezTo>
                      <a:pt x="277549" y="103443"/>
                      <a:pt x="291731" y="96904"/>
                      <a:pt x="0" y="84902"/>
                    </a:cubicBezTo>
                    <a:cubicBezTo>
                      <a:pt x="1504" y="64811"/>
                      <a:pt x="2191" y="23288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22" name="Right Arrow">
                <a:extLst>
                  <a:ext uri="{FF2B5EF4-FFF2-40B4-BE49-F238E27FC236}">
                    <a16:creationId xmlns:a16="http://schemas.microsoft.com/office/drawing/2014/main" id="{2F7E7030-AE23-4C71-9D40-8C71448C5571}"/>
                  </a:ext>
                </a:extLst>
              </p:cNvPr>
              <p:cNvGrpSpPr/>
              <p:nvPr/>
            </p:nvGrpSpPr>
            <p:grpSpPr>
              <a:xfrm>
                <a:off x="5128197" y="2407577"/>
                <a:ext cx="55821" cy="39982"/>
                <a:chOff x="5128197" y="2407577"/>
                <a:chExt cx="55821" cy="39982"/>
              </a:xfrm>
            </p:grpSpPr>
            <p:grpSp>
              <p:nvGrpSpPr>
                <p:cNvPr id="549" name="Right Arrow">
                  <a:extLst>
                    <a:ext uri="{FF2B5EF4-FFF2-40B4-BE49-F238E27FC236}">
                      <a16:creationId xmlns:a16="http://schemas.microsoft.com/office/drawing/2014/main" id="{4D35FA65-08E4-45FF-94BF-C0C56E3834B4}"/>
                    </a:ext>
                  </a:extLst>
                </p:cNvPr>
                <p:cNvGrpSpPr/>
                <p:nvPr/>
              </p:nvGrpSpPr>
              <p:grpSpPr>
                <a:xfrm rot="13370064">
                  <a:off x="5144036" y="2407577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51" name="Line 2">
                    <a:extLst>
                      <a:ext uri="{FF2B5EF4-FFF2-40B4-BE49-F238E27FC236}">
                        <a16:creationId xmlns:a16="http://schemas.microsoft.com/office/drawing/2014/main" id="{B5814EB0-87FC-4756-AF48-63BC64B5A1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2" name="Line 1">
                    <a:extLst>
                      <a:ext uri="{FF2B5EF4-FFF2-40B4-BE49-F238E27FC236}">
                        <a16:creationId xmlns:a16="http://schemas.microsoft.com/office/drawing/2014/main" id="{4D5BF2D1-807C-4A5B-BC2D-13570B0EDD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50" name="Right Arrow">
                  <a:extLst>
                    <a:ext uri="{FF2B5EF4-FFF2-40B4-BE49-F238E27FC236}">
                      <a16:creationId xmlns:a16="http://schemas.microsoft.com/office/drawing/2014/main" id="{FF254B69-F7DD-44F0-A30E-CBC5D9CAE5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28197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3" name="Left Arrow">
                <a:extLst>
                  <a:ext uri="{FF2B5EF4-FFF2-40B4-BE49-F238E27FC236}">
                    <a16:creationId xmlns:a16="http://schemas.microsoft.com/office/drawing/2014/main" id="{B0BE31A3-3EBB-4564-A28D-07C34782648F}"/>
                  </a:ext>
                </a:extLst>
              </p:cNvPr>
              <p:cNvGrpSpPr/>
              <p:nvPr/>
            </p:nvGrpSpPr>
            <p:grpSpPr>
              <a:xfrm>
                <a:off x="5004669" y="2407458"/>
                <a:ext cx="56118" cy="39982"/>
                <a:chOff x="5004669" y="2407458"/>
                <a:chExt cx="56118" cy="39982"/>
              </a:xfrm>
            </p:grpSpPr>
            <p:grpSp>
              <p:nvGrpSpPr>
                <p:cNvPr id="545" name="Left Arrow">
                  <a:extLst>
                    <a:ext uri="{FF2B5EF4-FFF2-40B4-BE49-F238E27FC236}">
                      <a16:creationId xmlns:a16="http://schemas.microsoft.com/office/drawing/2014/main" id="{35C6CA7C-337E-4C13-A902-50183FE3105E}"/>
                    </a:ext>
                  </a:extLst>
                </p:cNvPr>
                <p:cNvGrpSpPr/>
                <p:nvPr/>
              </p:nvGrpSpPr>
              <p:grpSpPr>
                <a:xfrm rot="8229936" flipH="1">
                  <a:off x="5004669" y="2407458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47" name="Line 2">
                    <a:extLst>
                      <a:ext uri="{FF2B5EF4-FFF2-40B4-BE49-F238E27FC236}">
                        <a16:creationId xmlns:a16="http://schemas.microsoft.com/office/drawing/2014/main" id="{7872BCB5-50C6-4D17-B3E5-7C261012102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8" name="Line 1">
                    <a:extLst>
                      <a:ext uri="{FF2B5EF4-FFF2-40B4-BE49-F238E27FC236}">
                        <a16:creationId xmlns:a16="http://schemas.microsoft.com/office/drawing/2014/main" id="{B2E27EF4-CBCF-41A5-82B8-16D09FE3764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46" name="Left Arrow">
                  <a:extLst>
                    <a:ext uri="{FF2B5EF4-FFF2-40B4-BE49-F238E27FC236}">
                      <a16:creationId xmlns:a16="http://schemas.microsoft.com/office/drawing/2014/main" id="{9FD14A27-CF2D-40DD-9248-09C9BAD52F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2808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24" name="Search Address Bar Icon" descr="Magnifying glass">
                <a:extLst>
                  <a:ext uri="{FF2B5EF4-FFF2-40B4-BE49-F238E27FC236}">
                    <a16:creationId xmlns:a16="http://schemas.microsoft.com/office/drawing/2014/main" id="{4C28C5D4-573A-4815-946D-BFF46133E4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H="1">
                <a:off x="5539664" y="2402166"/>
                <a:ext cx="48632" cy="48632"/>
              </a:xfrm>
              <a:prstGeom prst="rect">
                <a:avLst/>
              </a:prstGeom>
            </p:spPr>
          </p:pic>
          <p:sp>
            <p:nvSpPr>
              <p:cNvPr id="525" name="Search Address Bar Text">
                <a:extLst>
                  <a:ext uri="{FF2B5EF4-FFF2-40B4-BE49-F238E27FC236}">
                    <a16:creationId xmlns:a16="http://schemas.microsoft.com/office/drawing/2014/main" id="{F4A46A15-079C-4B4A-A2A7-4B46B7DD69EC}"/>
                  </a:ext>
                </a:extLst>
              </p:cNvPr>
              <p:cNvSpPr txBox="1"/>
              <p:nvPr/>
            </p:nvSpPr>
            <p:spPr>
              <a:xfrm>
                <a:off x="5529550" y="2361221"/>
                <a:ext cx="1335040" cy="149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70" dirty="0">
                    <a:solidFill>
                      <a:srgbClr val="AEAEAE"/>
                    </a:solidFill>
                  </a:rPr>
                  <a:t>Search or enter web address</a:t>
                </a:r>
              </a:p>
            </p:txBody>
          </p:sp>
          <p:pic>
            <p:nvPicPr>
              <p:cNvPr id="526" name="Refresh Button" descr="Refresh">
                <a:extLst>
                  <a:ext uri="{FF2B5EF4-FFF2-40B4-BE49-F238E27FC236}">
                    <a16:creationId xmlns:a16="http://schemas.microsoft.com/office/drawing/2014/main" id="{09D65992-45BC-4343-9F7B-4797F33FF8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7611513">
                <a:off x="5247646" y="2397778"/>
                <a:ext cx="59306" cy="59306"/>
              </a:xfrm>
              <a:prstGeom prst="rect">
                <a:avLst/>
              </a:prstGeom>
            </p:spPr>
          </p:pic>
          <p:pic>
            <p:nvPicPr>
              <p:cNvPr id="527" name="Home Button" descr="Home">
                <a:extLst>
                  <a:ext uri="{FF2B5EF4-FFF2-40B4-BE49-F238E27FC236}">
                    <a16:creationId xmlns:a16="http://schemas.microsoft.com/office/drawing/2014/main" id="{3D38578F-3F8D-4CB7-91EC-80501AE330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371550" y="2399299"/>
                <a:ext cx="59306" cy="59306"/>
              </a:xfrm>
              <a:prstGeom prst="rect">
                <a:avLst/>
              </a:prstGeom>
            </p:spPr>
          </p:pic>
          <p:grpSp>
            <p:nvGrpSpPr>
              <p:cNvPr id="528" name="Address Bar Settings Button">
                <a:extLst>
                  <a:ext uri="{FF2B5EF4-FFF2-40B4-BE49-F238E27FC236}">
                    <a16:creationId xmlns:a16="http://schemas.microsoft.com/office/drawing/2014/main" id="{DB281471-0E34-49CB-956F-F16D446D26A9}"/>
                  </a:ext>
                </a:extLst>
              </p:cNvPr>
              <p:cNvGrpSpPr/>
              <p:nvPr/>
            </p:nvGrpSpPr>
            <p:grpSpPr>
              <a:xfrm>
                <a:off x="10462849" y="2419434"/>
                <a:ext cx="64797" cy="15993"/>
                <a:chOff x="10790691" y="1400190"/>
                <a:chExt cx="74096" cy="18288"/>
              </a:xfrm>
            </p:grpSpPr>
            <p:sp>
              <p:nvSpPr>
                <p:cNvPr id="542" name="Circle">
                  <a:extLst>
                    <a:ext uri="{FF2B5EF4-FFF2-40B4-BE49-F238E27FC236}">
                      <a16:creationId xmlns:a16="http://schemas.microsoft.com/office/drawing/2014/main" id="{E665D752-7AB7-4FF6-B09C-1207C4312256}"/>
                    </a:ext>
                  </a:extLst>
                </p:cNvPr>
                <p:cNvSpPr/>
                <p:nvPr/>
              </p:nvSpPr>
              <p:spPr>
                <a:xfrm>
                  <a:off x="10846499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3" name="Circle">
                  <a:extLst>
                    <a:ext uri="{FF2B5EF4-FFF2-40B4-BE49-F238E27FC236}">
                      <a16:creationId xmlns:a16="http://schemas.microsoft.com/office/drawing/2014/main" id="{66F8E6F1-ACFA-40B0-BE17-B1C173E45A8C}"/>
                    </a:ext>
                  </a:extLst>
                </p:cNvPr>
                <p:cNvSpPr/>
                <p:nvPr/>
              </p:nvSpPr>
              <p:spPr>
                <a:xfrm>
                  <a:off x="10818595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4" name="Circle">
                  <a:extLst>
                    <a:ext uri="{FF2B5EF4-FFF2-40B4-BE49-F238E27FC236}">
                      <a16:creationId xmlns:a16="http://schemas.microsoft.com/office/drawing/2014/main" id="{9D4C3D15-84DA-4A39-AB09-681268FF014C}"/>
                    </a:ext>
                  </a:extLst>
                </p:cNvPr>
                <p:cNvSpPr/>
                <p:nvPr/>
              </p:nvSpPr>
              <p:spPr>
                <a:xfrm>
                  <a:off x="10790691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29" name="Add Button">
                <a:extLst>
                  <a:ext uri="{FF2B5EF4-FFF2-40B4-BE49-F238E27FC236}">
                    <a16:creationId xmlns:a16="http://schemas.microsoft.com/office/drawing/2014/main" id="{1CF79268-3321-4B74-BCE1-D4A4AAD16FD8}"/>
                  </a:ext>
                </a:extLst>
              </p:cNvPr>
              <p:cNvGrpSpPr/>
              <p:nvPr/>
            </p:nvGrpSpPr>
            <p:grpSpPr>
              <a:xfrm>
                <a:off x="5822685" y="2296671"/>
                <a:ext cx="39983" cy="39983"/>
                <a:chOff x="5822685" y="2296671"/>
                <a:chExt cx="39983" cy="39983"/>
              </a:xfrm>
            </p:grpSpPr>
            <p:cxnSp>
              <p:nvCxnSpPr>
                <p:cNvPr id="540" name="Line 2">
                  <a:extLst>
                    <a:ext uri="{FF2B5EF4-FFF2-40B4-BE49-F238E27FC236}">
                      <a16:creationId xmlns:a16="http://schemas.microsoft.com/office/drawing/2014/main" id="{54CFD6A6-0869-494F-B18E-802C12FE99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22685" y="2315861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1" name="Line 1">
                  <a:extLst>
                    <a:ext uri="{FF2B5EF4-FFF2-40B4-BE49-F238E27FC236}">
                      <a16:creationId xmlns:a16="http://schemas.microsoft.com/office/drawing/2014/main" id="{8380DE50-4991-4F02-B8C0-D20EA5332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5821643" y="2316663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30" name="Close Button" descr="Close">
                <a:extLst>
                  <a:ext uri="{FF2B5EF4-FFF2-40B4-BE49-F238E27FC236}">
                    <a16:creationId xmlns:a16="http://schemas.microsoft.com/office/drawing/2014/main" id="{8CFE01B9-D061-4B76-829A-F01DB3F256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10465079" y="229656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1" name="Maximize Button">
                <a:extLst>
                  <a:ext uri="{FF2B5EF4-FFF2-40B4-BE49-F238E27FC236}">
                    <a16:creationId xmlns:a16="http://schemas.microsoft.com/office/drawing/2014/main" id="{1523D9FA-3565-4670-B7CA-B24512A67F8F}"/>
                  </a:ext>
                </a:extLst>
              </p:cNvPr>
              <p:cNvSpPr/>
              <p:nvPr/>
            </p:nvSpPr>
            <p:spPr>
              <a:xfrm>
                <a:off x="10328833" y="2301847"/>
                <a:ext cx="31986" cy="31986"/>
              </a:xfrm>
              <a:prstGeom prst="rect">
                <a:avLst/>
              </a:prstGeom>
              <a:noFill/>
              <a:ln w="6350">
                <a:solidFill>
                  <a:srgbClr val="09090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32" name="Minimize Button">
                <a:extLst>
                  <a:ext uri="{FF2B5EF4-FFF2-40B4-BE49-F238E27FC236}">
                    <a16:creationId xmlns:a16="http://schemas.microsoft.com/office/drawing/2014/main" id="{A709F5FE-9E36-44B6-9DF5-E402CB1D79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0145" y="2316798"/>
                <a:ext cx="31986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3" name="Webpage Small Title Background">
                <a:extLst>
                  <a:ext uri="{FF2B5EF4-FFF2-40B4-BE49-F238E27FC236}">
                    <a16:creationId xmlns:a16="http://schemas.microsoft.com/office/drawing/2014/main" id="{8B8FC058-1C60-4C02-A8F2-586AA1954CC0}"/>
                  </a:ext>
                </a:extLst>
              </p:cNvPr>
              <p:cNvSpPr/>
              <p:nvPr/>
            </p:nvSpPr>
            <p:spPr>
              <a:xfrm>
                <a:off x="5167332" y="2270515"/>
                <a:ext cx="622646" cy="104134"/>
              </a:xfrm>
              <a:custGeom>
                <a:avLst/>
                <a:gdLst>
                  <a:gd name="connsiteX0" fmla="*/ 0 w 622646"/>
                  <a:gd name="connsiteY0" fmla="*/ 0 h 104134"/>
                  <a:gd name="connsiteX1" fmla="*/ 622646 w 622646"/>
                  <a:gd name="connsiteY1" fmla="*/ 0 h 104134"/>
                  <a:gd name="connsiteX2" fmla="*/ 622646 w 622646"/>
                  <a:gd name="connsiteY2" fmla="*/ 104134 h 104134"/>
                  <a:gd name="connsiteX3" fmla="*/ 0 w 622646"/>
                  <a:gd name="connsiteY3" fmla="*/ 104134 h 104134"/>
                  <a:gd name="connsiteX4" fmla="*/ 0 w 622646"/>
                  <a:gd name="connsiteY4" fmla="*/ 0 h 10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646" h="104134" fill="none" extrusionOk="0">
                    <a:moveTo>
                      <a:pt x="0" y="0"/>
                    </a:moveTo>
                    <a:cubicBezTo>
                      <a:pt x="303527" y="-11224"/>
                      <a:pt x="347830" y="-2420"/>
                      <a:pt x="622646" y="0"/>
                    </a:cubicBezTo>
                    <a:cubicBezTo>
                      <a:pt x="617543" y="49713"/>
                      <a:pt x="627647" y="70936"/>
                      <a:pt x="622646" y="104134"/>
                    </a:cubicBezTo>
                    <a:cubicBezTo>
                      <a:pt x="427445" y="95508"/>
                      <a:pt x="185225" y="129744"/>
                      <a:pt x="0" y="104134"/>
                    </a:cubicBezTo>
                    <a:cubicBezTo>
                      <a:pt x="-1595" y="70651"/>
                      <a:pt x="3854" y="34322"/>
                      <a:pt x="0" y="0"/>
                    </a:cubicBezTo>
                    <a:close/>
                  </a:path>
                  <a:path w="622646" h="104134" stroke="0" extrusionOk="0">
                    <a:moveTo>
                      <a:pt x="0" y="0"/>
                    </a:moveTo>
                    <a:cubicBezTo>
                      <a:pt x="270705" y="-8460"/>
                      <a:pt x="453983" y="-12708"/>
                      <a:pt x="622646" y="0"/>
                    </a:cubicBezTo>
                    <a:cubicBezTo>
                      <a:pt x="619928" y="35983"/>
                      <a:pt x="619772" y="62275"/>
                      <a:pt x="622646" y="104134"/>
                    </a:cubicBezTo>
                    <a:cubicBezTo>
                      <a:pt x="357335" y="87148"/>
                      <a:pt x="268814" y="119323"/>
                      <a:pt x="0" y="104134"/>
                    </a:cubicBezTo>
                    <a:cubicBezTo>
                      <a:pt x="933" y="57310"/>
                      <a:pt x="-398" y="29390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34" name="Webpage Close Icon" descr="Close">
                <a:extLst>
                  <a:ext uri="{FF2B5EF4-FFF2-40B4-BE49-F238E27FC236}">
                    <a16:creationId xmlns:a16="http://schemas.microsoft.com/office/drawing/2014/main" id="{54440EC5-88CB-481D-BBE4-52BCFD6B1E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717383" y="229698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5" name="Webpage Name">
                <a:extLst>
                  <a:ext uri="{FF2B5EF4-FFF2-40B4-BE49-F238E27FC236}">
                    <a16:creationId xmlns:a16="http://schemas.microsoft.com/office/drawing/2014/main" id="{78A40229-4D45-4960-9218-446DE8A37743}"/>
                  </a:ext>
                </a:extLst>
              </p:cNvPr>
              <p:cNvSpPr txBox="1"/>
              <p:nvPr/>
            </p:nvSpPr>
            <p:spPr>
              <a:xfrm>
                <a:off x="5272180" y="2289186"/>
                <a:ext cx="138919" cy="53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400" dirty="0">
                    <a:solidFill>
                      <a:srgbClr val="555555"/>
                    </a:solidFill>
                  </a:rPr>
                  <a:t>Start</a:t>
                </a:r>
              </a:p>
            </p:txBody>
          </p:sp>
          <p:grpSp>
            <p:nvGrpSpPr>
              <p:cNvPr id="536" name="Website Icon Placeholder">
                <a:extLst>
                  <a:ext uri="{FF2B5EF4-FFF2-40B4-BE49-F238E27FC236}">
                    <a16:creationId xmlns:a16="http://schemas.microsoft.com/office/drawing/2014/main" id="{F12C93E2-424A-4D9A-9C11-A3F49BB5936C}"/>
                  </a:ext>
                </a:extLst>
              </p:cNvPr>
              <p:cNvGrpSpPr/>
              <p:nvPr/>
            </p:nvGrpSpPr>
            <p:grpSpPr>
              <a:xfrm>
                <a:off x="5204508" y="2295596"/>
                <a:ext cx="41452" cy="40711"/>
                <a:chOff x="1950533" y="1912092"/>
                <a:chExt cx="144420" cy="141838"/>
              </a:xfrm>
            </p:grpSpPr>
            <p:sp>
              <p:nvSpPr>
                <p:cNvPr id="537" name="Square">
                  <a:extLst>
                    <a:ext uri="{FF2B5EF4-FFF2-40B4-BE49-F238E27FC236}">
                      <a16:creationId xmlns:a16="http://schemas.microsoft.com/office/drawing/2014/main" id="{E6DBB03C-63A7-4CFC-8B29-388FF596A28C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3175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538" name="Line 2">
                  <a:extLst>
                    <a:ext uri="{FF2B5EF4-FFF2-40B4-BE49-F238E27FC236}">
                      <a16:creationId xmlns:a16="http://schemas.microsoft.com/office/drawing/2014/main" id="{5E74EB29-1C16-4733-81E3-224E14FE7904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9" name="Line 1">
                  <a:extLst>
                    <a:ext uri="{FF2B5EF4-FFF2-40B4-BE49-F238E27FC236}">
                      <a16:creationId xmlns:a16="http://schemas.microsoft.com/office/drawing/2014/main" id="{6C9D239C-AE67-4A5B-9A3A-082D19552BF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" name="Tablet Outline">
              <a:extLst>
                <a:ext uri="{FF2B5EF4-FFF2-40B4-BE49-F238E27FC236}">
                  <a16:creationId xmlns:a16="http://schemas.microsoft.com/office/drawing/2014/main" id="{ACE4A6A2-5007-495E-8EF4-5B0E4876DEC8}"/>
                </a:ext>
              </a:extLst>
            </p:cNvPr>
            <p:cNvGrpSpPr/>
            <p:nvPr/>
          </p:nvGrpSpPr>
          <p:grpSpPr>
            <a:xfrm rot="16200000">
              <a:off x="3510205" y="-874665"/>
              <a:ext cx="6068060" cy="8606117"/>
              <a:chOff x="4740346" y="2465294"/>
              <a:chExt cx="1802369" cy="2556237"/>
            </a:xfrm>
          </p:grpSpPr>
          <p:sp>
            <p:nvSpPr>
              <p:cNvPr id="559" name="Tablet Outline and Screen">
                <a:extLst>
                  <a:ext uri="{FF2B5EF4-FFF2-40B4-BE49-F238E27FC236}">
                    <a16:creationId xmlns:a16="http://schemas.microsoft.com/office/drawing/2014/main" id="{B19BED11-7706-491F-9F26-4D73A09B09AB}"/>
                  </a:ext>
                </a:extLst>
              </p:cNvPr>
              <p:cNvSpPr/>
              <p:nvPr/>
            </p:nvSpPr>
            <p:spPr>
              <a:xfrm rot="5400000">
                <a:off x="4363640" y="2842456"/>
                <a:ext cx="2555781" cy="1802369"/>
              </a:xfrm>
              <a:custGeom>
                <a:avLst/>
                <a:gdLst>
                  <a:gd name="connsiteX0" fmla="*/ 98312 w 2555781"/>
                  <a:gd name="connsiteY0" fmla="*/ 1707597 h 1802369"/>
                  <a:gd name="connsiteX1" fmla="*/ 2354723 w 2555781"/>
                  <a:gd name="connsiteY1" fmla="*/ 1707597 h 1802369"/>
                  <a:gd name="connsiteX2" fmla="*/ 2354723 w 2555781"/>
                  <a:gd name="connsiteY2" fmla="*/ 94770 h 1802369"/>
                  <a:gd name="connsiteX3" fmla="*/ 98312 w 2555781"/>
                  <a:gd name="connsiteY3" fmla="*/ 94770 h 1802369"/>
                  <a:gd name="connsiteX4" fmla="*/ 0 w 2555781"/>
                  <a:gd name="connsiteY4" fmla="*/ 1732509 h 1802369"/>
                  <a:gd name="connsiteX5" fmla="*/ 0 w 2555781"/>
                  <a:gd name="connsiteY5" fmla="*/ 69860 h 1802369"/>
                  <a:gd name="connsiteX6" fmla="*/ 69860 w 2555781"/>
                  <a:gd name="connsiteY6" fmla="*/ 0 h 1802369"/>
                  <a:gd name="connsiteX7" fmla="*/ 2485921 w 2555781"/>
                  <a:gd name="connsiteY7" fmla="*/ 0 h 1802369"/>
                  <a:gd name="connsiteX8" fmla="*/ 2555781 w 2555781"/>
                  <a:gd name="connsiteY8" fmla="*/ 69860 h 1802369"/>
                  <a:gd name="connsiteX9" fmla="*/ 2555781 w 2555781"/>
                  <a:gd name="connsiteY9" fmla="*/ 1732509 h 1802369"/>
                  <a:gd name="connsiteX10" fmla="*/ 2485921 w 2555781"/>
                  <a:gd name="connsiteY10" fmla="*/ 1802369 h 1802369"/>
                  <a:gd name="connsiteX11" fmla="*/ 69860 w 2555781"/>
                  <a:gd name="connsiteY11" fmla="*/ 1802369 h 1802369"/>
                  <a:gd name="connsiteX12" fmla="*/ 0 w 2555781"/>
                  <a:gd name="connsiteY12" fmla="*/ 1732509 h 180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5781" h="1802369">
                    <a:moveTo>
                      <a:pt x="98312" y="1707597"/>
                    </a:moveTo>
                    <a:lnTo>
                      <a:pt x="2354723" y="1707597"/>
                    </a:lnTo>
                    <a:lnTo>
                      <a:pt x="2354723" y="94770"/>
                    </a:lnTo>
                    <a:lnTo>
                      <a:pt x="98312" y="94770"/>
                    </a:lnTo>
                    <a:close/>
                    <a:moveTo>
                      <a:pt x="0" y="1732509"/>
                    </a:moveTo>
                    <a:lnTo>
                      <a:pt x="0" y="69860"/>
                    </a:lnTo>
                    <a:cubicBezTo>
                      <a:pt x="0" y="31277"/>
                      <a:pt x="31277" y="0"/>
                      <a:pt x="69860" y="0"/>
                    </a:cubicBezTo>
                    <a:lnTo>
                      <a:pt x="2485921" y="0"/>
                    </a:lnTo>
                    <a:cubicBezTo>
                      <a:pt x="2524504" y="0"/>
                      <a:pt x="2555781" y="31277"/>
                      <a:pt x="2555781" y="69860"/>
                    </a:cubicBezTo>
                    <a:lnTo>
                      <a:pt x="2555781" y="1732509"/>
                    </a:lnTo>
                    <a:cubicBezTo>
                      <a:pt x="2555781" y="1771092"/>
                      <a:pt x="2524504" y="1802369"/>
                      <a:pt x="2485921" y="1802369"/>
                    </a:cubicBezTo>
                    <a:lnTo>
                      <a:pt x="69860" y="1802369"/>
                    </a:lnTo>
                    <a:cubicBezTo>
                      <a:pt x="31277" y="1802369"/>
                      <a:pt x="0" y="1771092"/>
                      <a:pt x="0" y="1732509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0" name="Tablet Home Button">
                <a:extLst>
                  <a:ext uri="{FF2B5EF4-FFF2-40B4-BE49-F238E27FC236}">
                    <a16:creationId xmlns:a16="http://schemas.microsoft.com/office/drawing/2014/main" id="{F4B994A9-357B-4A98-B948-20D42E96D618}"/>
                  </a:ext>
                </a:extLst>
              </p:cNvPr>
              <p:cNvSpPr/>
              <p:nvPr/>
            </p:nvSpPr>
            <p:spPr>
              <a:xfrm rot="5400000">
                <a:off x="5573142" y="4850882"/>
                <a:ext cx="136777" cy="136777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1" name="Tablet Outline">
                <a:extLst>
                  <a:ext uri="{FF2B5EF4-FFF2-40B4-BE49-F238E27FC236}">
                    <a16:creationId xmlns:a16="http://schemas.microsoft.com/office/drawing/2014/main" id="{842DDC13-0BD5-4A26-A042-ADCB01FC6D42}"/>
                  </a:ext>
                </a:extLst>
              </p:cNvPr>
              <p:cNvSpPr/>
              <p:nvPr/>
            </p:nvSpPr>
            <p:spPr>
              <a:xfrm rot="5400000">
                <a:off x="4363640" y="2842000"/>
                <a:ext cx="2555781" cy="1802369"/>
              </a:xfrm>
              <a:prstGeom prst="roundRect">
                <a:avLst>
                  <a:gd name="adj" fmla="val 387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1" name="Mobile Device Outline" descr="A mockup of mobile interface on a phone.">
            <a:extLst>
              <a:ext uri="{FF2B5EF4-FFF2-40B4-BE49-F238E27FC236}">
                <a16:creationId xmlns:a16="http://schemas.microsoft.com/office/drawing/2014/main" id="{22D67D32-396A-4AAB-9566-759C06E1F4FE}"/>
              </a:ext>
            </a:extLst>
          </p:cNvPr>
          <p:cNvGrpSpPr/>
          <p:nvPr/>
        </p:nvGrpSpPr>
        <p:grpSpPr>
          <a:xfrm>
            <a:off x="8698534" y="1357874"/>
            <a:ext cx="2736739" cy="5016282"/>
            <a:chOff x="1357224" y="2005431"/>
            <a:chExt cx="2449955" cy="4490624"/>
          </a:xfrm>
        </p:grpSpPr>
        <p:sp>
          <p:nvSpPr>
            <p:cNvPr id="182" name="Menu Header Background">
              <a:extLst>
                <a:ext uri="{FF2B5EF4-FFF2-40B4-BE49-F238E27FC236}">
                  <a16:creationId xmlns:a16="http://schemas.microsoft.com/office/drawing/2014/main" id="{000DEACF-1A7C-45C9-8430-A637BD693E6A}"/>
                </a:ext>
              </a:extLst>
            </p:cNvPr>
            <p:cNvSpPr/>
            <p:nvPr/>
          </p:nvSpPr>
          <p:spPr>
            <a:xfrm>
              <a:off x="1466781" y="2387397"/>
              <a:ext cx="2232972" cy="402586"/>
            </a:xfrm>
            <a:custGeom>
              <a:avLst/>
              <a:gdLst>
                <a:gd name="connsiteX0" fmla="*/ 0 w 2232972"/>
                <a:gd name="connsiteY0" fmla="*/ 0 h 402586"/>
                <a:gd name="connsiteX1" fmla="*/ 0 w 2232972"/>
                <a:gd name="connsiteY1" fmla="*/ 0 h 402586"/>
                <a:gd name="connsiteX2" fmla="*/ 535913 w 2232972"/>
                <a:gd name="connsiteY2" fmla="*/ 0 h 402586"/>
                <a:gd name="connsiteX3" fmla="*/ 1094156 w 2232972"/>
                <a:gd name="connsiteY3" fmla="*/ 0 h 402586"/>
                <a:gd name="connsiteX4" fmla="*/ 1652399 w 2232972"/>
                <a:gd name="connsiteY4" fmla="*/ 0 h 402586"/>
                <a:gd name="connsiteX5" fmla="*/ 2232972 w 2232972"/>
                <a:gd name="connsiteY5" fmla="*/ 0 h 402586"/>
                <a:gd name="connsiteX6" fmla="*/ 2232972 w 2232972"/>
                <a:gd name="connsiteY6" fmla="*/ 0 h 402586"/>
                <a:gd name="connsiteX7" fmla="*/ 2232972 w 2232972"/>
                <a:gd name="connsiteY7" fmla="*/ 402586 h 402586"/>
                <a:gd name="connsiteX8" fmla="*/ 2232972 w 2232972"/>
                <a:gd name="connsiteY8" fmla="*/ 402586 h 402586"/>
                <a:gd name="connsiteX9" fmla="*/ 1674729 w 2232972"/>
                <a:gd name="connsiteY9" fmla="*/ 402586 h 402586"/>
                <a:gd name="connsiteX10" fmla="*/ 1161145 w 2232972"/>
                <a:gd name="connsiteY10" fmla="*/ 402586 h 402586"/>
                <a:gd name="connsiteX11" fmla="*/ 647562 w 2232972"/>
                <a:gd name="connsiteY11" fmla="*/ 402586 h 402586"/>
                <a:gd name="connsiteX12" fmla="*/ 0 w 2232972"/>
                <a:gd name="connsiteY12" fmla="*/ 402586 h 402586"/>
                <a:gd name="connsiteX13" fmla="*/ 0 w 2232972"/>
                <a:gd name="connsiteY13" fmla="*/ 402586 h 402586"/>
                <a:gd name="connsiteX14" fmla="*/ 0 w 2232972"/>
                <a:gd name="connsiteY14" fmla="*/ 0 h 4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32972" h="402586" fill="none" extrusionOk="0">
                  <a:moveTo>
                    <a:pt x="0" y="0"/>
                  </a:moveTo>
                  <a:lnTo>
                    <a:pt x="0" y="0"/>
                  </a:lnTo>
                  <a:cubicBezTo>
                    <a:pt x="147406" y="-11487"/>
                    <a:pt x="272346" y="7094"/>
                    <a:pt x="535913" y="0"/>
                  </a:cubicBezTo>
                  <a:cubicBezTo>
                    <a:pt x="799480" y="-7094"/>
                    <a:pt x="890176" y="14257"/>
                    <a:pt x="1094156" y="0"/>
                  </a:cubicBezTo>
                  <a:cubicBezTo>
                    <a:pt x="1298136" y="-14257"/>
                    <a:pt x="1530231" y="1464"/>
                    <a:pt x="1652399" y="0"/>
                  </a:cubicBezTo>
                  <a:cubicBezTo>
                    <a:pt x="1774567" y="-1464"/>
                    <a:pt x="2039451" y="26039"/>
                    <a:pt x="2232972" y="0"/>
                  </a:cubicBezTo>
                  <a:lnTo>
                    <a:pt x="2232972" y="0"/>
                  </a:lnTo>
                  <a:cubicBezTo>
                    <a:pt x="2219879" y="83520"/>
                    <a:pt x="2246032" y="273696"/>
                    <a:pt x="2232972" y="402586"/>
                  </a:cubicBezTo>
                  <a:lnTo>
                    <a:pt x="2232972" y="402586"/>
                  </a:lnTo>
                  <a:cubicBezTo>
                    <a:pt x="2065325" y="414939"/>
                    <a:pt x="1843769" y="402560"/>
                    <a:pt x="1674729" y="402586"/>
                  </a:cubicBezTo>
                  <a:cubicBezTo>
                    <a:pt x="1505689" y="402612"/>
                    <a:pt x="1378045" y="379808"/>
                    <a:pt x="1161145" y="402586"/>
                  </a:cubicBezTo>
                  <a:cubicBezTo>
                    <a:pt x="944245" y="425364"/>
                    <a:pt x="877932" y="399227"/>
                    <a:pt x="647562" y="402586"/>
                  </a:cubicBezTo>
                  <a:cubicBezTo>
                    <a:pt x="417192" y="405945"/>
                    <a:pt x="293594" y="374392"/>
                    <a:pt x="0" y="402586"/>
                  </a:cubicBezTo>
                  <a:lnTo>
                    <a:pt x="0" y="402586"/>
                  </a:lnTo>
                  <a:cubicBezTo>
                    <a:pt x="8541" y="294937"/>
                    <a:pt x="-19623" y="103718"/>
                    <a:pt x="0" y="0"/>
                  </a:cubicBezTo>
                  <a:close/>
                </a:path>
                <a:path w="2232972" h="402586" stroke="0" extrusionOk="0">
                  <a:moveTo>
                    <a:pt x="0" y="0"/>
                  </a:moveTo>
                  <a:lnTo>
                    <a:pt x="0" y="0"/>
                  </a:lnTo>
                  <a:cubicBezTo>
                    <a:pt x="242604" y="-9532"/>
                    <a:pt x="414600" y="-17151"/>
                    <a:pt x="535913" y="0"/>
                  </a:cubicBezTo>
                  <a:cubicBezTo>
                    <a:pt x="657226" y="17151"/>
                    <a:pt x="907053" y="-21676"/>
                    <a:pt x="1027167" y="0"/>
                  </a:cubicBezTo>
                  <a:cubicBezTo>
                    <a:pt x="1147281" y="21676"/>
                    <a:pt x="1506001" y="-16517"/>
                    <a:pt x="1630070" y="0"/>
                  </a:cubicBezTo>
                  <a:cubicBezTo>
                    <a:pt x="1754139" y="16517"/>
                    <a:pt x="2036633" y="-11698"/>
                    <a:pt x="2232972" y="0"/>
                  </a:cubicBezTo>
                  <a:lnTo>
                    <a:pt x="2232972" y="0"/>
                  </a:lnTo>
                  <a:cubicBezTo>
                    <a:pt x="2219488" y="169416"/>
                    <a:pt x="2240019" y="289193"/>
                    <a:pt x="2232972" y="402586"/>
                  </a:cubicBezTo>
                  <a:lnTo>
                    <a:pt x="2232972" y="402586"/>
                  </a:lnTo>
                  <a:cubicBezTo>
                    <a:pt x="1999455" y="420234"/>
                    <a:pt x="1921617" y="381245"/>
                    <a:pt x="1719388" y="402586"/>
                  </a:cubicBezTo>
                  <a:cubicBezTo>
                    <a:pt x="1517159" y="423927"/>
                    <a:pt x="1316657" y="395772"/>
                    <a:pt x="1205805" y="402586"/>
                  </a:cubicBezTo>
                  <a:cubicBezTo>
                    <a:pt x="1094953" y="409400"/>
                    <a:pt x="734157" y="416370"/>
                    <a:pt x="602902" y="402586"/>
                  </a:cubicBezTo>
                  <a:cubicBezTo>
                    <a:pt x="471647" y="388802"/>
                    <a:pt x="171528" y="432641"/>
                    <a:pt x="0" y="402586"/>
                  </a:cubicBezTo>
                  <a:lnTo>
                    <a:pt x="0" y="402586"/>
                  </a:lnTo>
                  <a:cubicBezTo>
                    <a:pt x="10091" y="221488"/>
                    <a:pt x="166" y="108559"/>
                    <a:pt x="0" y="0"/>
                  </a:cubicBezTo>
                  <a:close/>
                </a:path>
              </a:pathLst>
            </a:custGeom>
            <a:solidFill>
              <a:srgbClr val="FAF9F9"/>
            </a:solidFill>
            <a:ln w="3175">
              <a:solidFill>
                <a:srgbClr val="B8B8B8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4" name="Address Bar">
              <a:extLst>
                <a:ext uri="{FF2B5EF4-FFF2-40B4-BE49-F238E27FC236}">
                  <a16:creationId xmlns:a16="http://schemas.microsoft.com/office/drawing/2014/main" id="{EE4AB363-19A4-444F-AB4A-16235C4DF2D0}"/>
                </a:ext>
              </a:extLst>
            </p:cNvPr>
            <p:cNvGrpSpPr/>
            <p:nvPr/>
          </p:nvGrpSpPr>
          <p:grpSpPr>
            <a:xfrm>
              <a:off x="1551469" y="2537917"/>
              <a:ext cx="2063593" cy="200859"/>
              <a:chOff x="1551469" y="2537917"/>
              <a:chExt cx="2063593" cy="200859"/>
            </a:xfrm>
          </p:grpSpPr>
          <p:sp>
            <p:nvSpPr>
              <p:cNvPr id="227" name="Address Bar Placeholder">
                <a:extLst>
                  <a:ext uri="{FF2B5EF4-FFF2-40B4-BE49-F238E27FC236}">
                    <a16:creationId xmlns:a16="http://schemas.microsoft.com/office/drawing/2014/main" id="{19F8E0DE-2C73-4680-9586-F1C22078F8FF}"/>
                  </a:ext>
                </a:extLst>
              </p:cNvPr>
              <p:cNvSpPr/>
              <p:nvPr/>
            </p:nvSpPr>
            <p:spPr>
              <a:xfrm>
                <a:off x="1551469" y="2537917"/>
                <a:ext cx="2063593" cy="200859"/>
              </a:xfrm>
              <a:custGeom>
                <a:avLst/>
                <a:gdLst>
                  <a:gd name="connsiteX0" fmla="*/ 0 w 2063593"/>
                  <a:gd name="connsiteY0" fmla="*/ 33477 h 200859"/>
                  <a:gd name="connsiteX1" fmla="*/ 33477 w 2063593"/>
                  <a:gd name="connsiteY1" fmla="*/ 0 h 200859"/>
                  <a:gd name="connsiteX2" fmla="*/ 718990 w 2063593"/>
                  <a:gd name="connsiteY2" fmla="*/ 0 h 200859"/>
                  <a:gd name="connsiteX3" fmla="*/ 1384536 w 2063593"/>
                  <a:gd name="connsiteY3" fmla="*/ 0 h 200859"/>
                  <a:gd name="connsiteX4" fmla="*/ 2030116 w 2063593"/>
                  <a:gd name="connsiteY4" fmla="*/ 0 h 200859"/>
                  <a:gd name="connsiteX5" fmla="*/ 2063593 w 2063593"/>
                  <a:gd name="connsiteY5" fmla="*/ 33477 h 200859"/>
                  <a:gd name="connsiteX6" fmla="*/ 2063593 w 2063593"/>
                  <a:gd name="connsiteY6" fmla="*/ 167382 h 200859"/>
                  <a:gd name="connsiteX7" fmla="*/ 2030116 w 2063593"/>
                  <a:gd name="connsiteY7" fmla="*/ 200859 h 200859"/>
                  <a:gd name="connsiteX8" fmla="*/ 1344603 w 2063593"/>
                  <a:gd name="connsiteY8" fmla="*/ 200859 h 200859"/>
                  <a:gd name="connsiteX9" fmla="*/ 738956 w 2063593"/>
                  <a:gd name="connsiteY9" fmla="*/ 200859 h 200859"/>
                  <a:gd name="connsiteX10" fmla="*/ 33477 w 2063593"/>
                  <a:gd name="connsiteY10" fmla="*/ 200859 h 200859"/>
                  <a:gd name="connsiteX11" fmla="*/ 0 w 2063593"/>
                  <a:gd name="connsiteY11" fmla="*/ 167382 h 200859"/>
                  <a:gd name="connsiteX12" fmla="*/ 0 w 2063593"/>
                  <a:gd name="connsiteY12" fmla="*/ 33477 h 20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63593" h="200859" fill="none" extrusionOk="0">
                    <a:moveTo>
                      <a:pt x="0" y="33477"/>
                    </a:moveTo>
                    <a:cubicBezTo>
                      <a:pt x="-4028" y="15650"/>
                      <a:pt x="14180" y="-557"/>
                      <a:pt x="33477" y="0"/>
                    </a:cubicBezTo>
                    <a:cubicBezTo>
                      <a:pt x="327232" y="16354"/>
                      <a:pt x="563256" y="25531"/>
                      <a:pt x="718990" y="0"/>
                    </a:cubicBezTo>
                    <a:cubicBezTo>
                      <a:pt x="874724" y="-25531"/>
                      <a:pt x="1249272" y="-12811"/>
                      <a:pt x="1384536" y="0"/>
                    </a:cubicBezTo>
                    <a:cubicBezTo>
                      <a:pt x="1519800" y="12811"/>
                      <a:pt x="1805807" y="-1158"/>
                      <a:pt x="2030116" y="0"/>
                    </a:cubicBezTo>
                    <a:cubicBezTo>
                      <a:pt x="2046373" y="92"/>
                      <a:pt x="2063904" y="14428"/>
                      <a:pt x="2063593" y="33477"/>
                    </a:cubicBezTo>
                    <a:cubicBezTo>
                      <a:pt x="2064905" y="74049"/>
                      <a:pt x="2061901" y="107762"/>
                      <a:pt x="2063593" y="167382"/>
                    </a:cubicBezTo>
                    <a:cubicBezTo>
                      <a:pt x="2064639" y="187941"/>
                      <a:pt x="2047733" y="201319"/>
                      <a:pt x="2030116" y="200859"/>
                    </a:cubicBezTo>
                    <a:cubicBezTo>
                      <a:pt x="1848501" y="230173"/>
                      <a:pt x="1573211" y="175859"/>
                      <a:pt x="1344603" y="200859"/>
                    </a:cubicBezTo>
                    <a:cubicBezTo>
                      <a:pt x="1115995" y="225859"/>
                      <a:pt x="933411" y="207364"/>
                      <a:pt x="738956" y="200859"/>
                    </a:cubicBezTo>
                    <a:cubicBezTo>
                      <a:pt x="544501" y="194354"/>
                      <a:pt x="359529" y="215920"/>
                      <a:pt x="33477" y="200859"/>
                    </a:cubicBezTo>
                    <a:cubicBezTo>
                      <a:pt x="18248" y="202000"/>
                      <a:pt x="873" y="188810"/>
                      <a:pt x="0" y="167382"/>
                    </a:cubicBezTo>
                    <a:cubicBezTo>
                      <a:pt x="-5280" y="131818"/>
                      <a:pt x="4609" y="88914"/>
                      <a:pt x="0" y="33477"/>
                    </a:cubicBezTo>
                    <a:close/>
                  </a:path>
                  <a:path w="2063593" h="200859" stroke="0" extrusionOk="0">
                    <a:moveTo>
                      <a:pt x="0" y="33477"/>
                    </a:moveTo>
                    <a:cubicBezTo>
                      <a:pt x="-816" y="14484"/>
                      <a:pt x="11940" y="1144"/>
                      <a:pt x="33477" y="0"/>
                    </a:cubicBezTo>
                    <a:cubicBezTo>
                      <a:pt x="372115" y="-502"/>
                      <a:pt x="569535" y="19379"/>
                      <a:pt x="738956" y="0"/>
                    </a:cubicBezTo>
                    <a:cubicBezTo>
                      <a:pt x="908377" y="-19379"/>
                      <a:pt x="1093092" y="25059"/>
                      <a:pt x="1384536" y="0"/>
                    </a:cubicBezTo>
                    <a:cubicBezTo>
                      <a:pt x="1675980" y="-25059"/>
                      <a:pt x="1745014" y="-18367"/>
                      <a:pt x="2030116" y="0"/>
                    </a:cubicBezTo>
                    <a:cubicBezTo>
                      <a:pt x="2047982" y="-2008"/>
                      <a:pt x="2064700" y="10890"/>
                      <a:pt x="2063593" y="33477"/>
                    </a:cubicBezTo>
                    <a:cubicBezTo>
                      <a:pt x="2066029" y="78774"/>
                      <a:pt x="2058004" y="115532"/>
                      <a:pt x="2063593" y="167382"/>
                    </a:cubicBezTo>
                    <a:cubicBezTo>
                      <a:pt x="2063452" y="184523"/>
                      <a:pt x="2047555" y="202318"/>
                      <a:pt x="2030116" y="200859"/>
                    </a:cubicBezTo>
                    <a:cubicBezTo>
                      <a:pt x="1810516" y="211454"/>
                      <a:pt x="1692292" y="179922"/>
                      <a:pt x="1404502" y="200859"/>
                    </a:cubicBezTo>
                    <a:cubicBezTo>
                      <a:pt x="1116712" y="221796"/>
                      <a:pt x="1059382" y="200369"/>
                      <a:pt x="738956" y="200859"/>
                    </a:cubicBezTo>
                    <a:cubicBezTo>
                      <a:pt x="418530" y="201349"/>
                      <a:pt x="315099" y="188202"/>
                      <a:pt x="33477" y="200859"/>
                    </a:cubicBezTo>
                    <a:cubicBezTo>
                      <a:pt x="16940" y="198930"/>
                      <a:pt x="2263" y="184412"/>
                      <a:pt x="0" y="167382"/>
                    </a:cubicBezTo>
                    <a:cubicBezTo>
                      <a:pt x="1482" y="124762"/>
                      <a:pt x="-4443" y="82703"/>
                      <a:pt x="0" y="33477"/>
                    </a:cubicBezTo>
                    <a:close/>
                  </a:path>
                </a:pathLst>
              </a:custGeom>
              <a:solidFill>
                <a:srgbClr val="E7E7EA"/>
              </a:solidFill>
              <a:ln>
                <a:solidFill>
                  <a:srgbClr val="E7E7EA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ound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Website Text Placeholder">
                <a:extLst>
                  <a:ext uri="{FF2B5EF4-FFF2-40B4-BE49-F238E27FC236}">
                    <a16:creationId xmlns:a16="http://schemas.microsoft.com/office/drawing/2014/main" id="{42BA083A-D533-4613-AE42-29C82F4DE98D}"/>
                  </a:ext>
                </a:extLst>
              </p:cNvPr>
              <p:cNvSpPr txBox="1"/>
              <p:nvPr/>
            </p:nvSpPr>
            <p:spPr>
              <a:xfrm>
                <a:off x="1924445" y="2579450"/>
                <a:ext cx="1326402" cy="1046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75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.com</a:t>
                </a:r>
              </a:p>
            </p:txBody>
          </p:sp>
          <p:pic>
            <p:nvPicPr>
              <p:cNvPr id="229" name="Refresh Graphic" descr="Refresh">
                <a:extLst>
                  <a:ext uri="{FF2B5EF4-FFF2-40B4-BE49-F238E27FC236}">
                    <a16:creationId xmlns:a16="http://schemas.microsoft.com/office/drawing/2014/main" id="{F5435132-289D-4538-9C23-BB6C24A7F5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8246195">
                <a:off x="3460112" y="2586875"/>
                <a:ext cx="117597" cy="117597"/>
              </a:xfrm>
              <a:prstGeom prst="rect">
                <a:avLst/>
              </a:prstGeom>
            </p:spPr>
          </p:pic>
        </p:grpSp>
        <p:grpSp>
          <p:nvGrpSpPr>
            <p:cNvPr id="187" name="Mobile Header">
              <a:extLst>
                <a:ext uri="{FF2B5EF4-FFF2-40B4-BE49-F238E27FC236}">
                  <a16:creationId xmlns:a16="http://schemas.microsoft.com/office/drawing/2014/main" id="{D5EAED2A-3415-49EB-B754-85EBA7435110}"/>
                </a:ext>
              </a:extLst>
            </p:cNvPr>
            <p:cNvGrpSpPr/>
            <p:nvPr/>
          </p:nvGrpSpPr>
          <p:grpSpPr>
            <a:xfrm>
              <a:off x="1519184" y="2406489"/>
              <a:ext cx="2129699" cy="115185"/>
              <a:chOff x="1519184" y="2406489"/>
              <a:chExt cx="2129699" cy="115185"/>
            </a:xfrm>
          </p:grpSpPr>
          <p:grpSp>
            <p:nvGrpSpPr>
              <p:cNvPr id="217" name="Wifi Graphic">
                <a:extLst>
                  <a:ext uri="{FF2B5EF4-FFF2-40B4-BE49-F238E27FC236}">
                    <a16:creationId xmlns:a16="http://schemas.microsoft.com/office/drawing/2014/main" id="{5E238DF2-233B-4331-A1DF-91F8B74A47D1}"/>
                  </a:ext>
                </a:extLst>
              </p:cNvPr>
              <p:cNvGrpSpPr/>
              <p:nvPr/>
            </p:nvGrpSpPr>
            <p:grpSpPr>
              <a:xfrm>
                <a:off x="1519184" y="2443972"/>
                <a:ext cx="76986" cy="49748"/>
                <a:chOff x="1519184" y="2443972"/>
                <a:chExt cx="76986" cy="49748"/>
              </a:xfrm>
            </p:grpSpPr>
            <p:sp>
              <p:nvSpPr>
                <p:cNvPr id="222" name="Rectangle 4">
                  <a:extLst>
                    <a:ext uri="{FF2B5EF4-FFF2-40B4-BE49-F238E27FC236}">
                      <a16:creationId xmlns:a16="http://schemas.microsoft.com/office/drawing/2014/main" id="{7852605D-248F-4669-B764-2BA3349BC20F}"/>
                    </a:ext>
                  </a:extLst>
                </p:cNvPr>
                <p:cNvSpPr/>
                <p:nvPr/>
              </p:nvSpPr>
              <p:spPr>
                <a:xfrm>
                  <a:off x="1588109" y="2443972"/>
                  <a:ext cx="8061" cy="48368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3" name="Rectangle 3">
                  <a:extLst>
                    <a:ext uri="{FF2B5EF4-FFF2-40B4-BE49-F238E27FC236}">
                      <a16:creationId xmlns:a16="http://schemas.microsoft.com/office/drawing/2014/main" id="{AEFA2F67-C4FA-41C2-B54E-10A4E159B3D2}"/>
                    </a:ext>
                  </a:extLst>
                </p:cNvPr>
                <p:cNvSpPr/>
                <p:nvPr/>
              </p:nvSpPr>
              <p:spPr>
                <a:xfrm>
                  <a:off x="1566245" y="2451826"/>
                  <a:ext cx="8061" cy="40306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5" name="Rectangle 2">
                  <a:extLst>
                    <a:ext uri="{FF2B5EF4-FFF2-40B4-BE49-F238E27FC236}">
                      <a16:creationId xmlns:a16="http://schemas.microsoft.com/office/drawing/2014/main" id="{52F1A0BC-0403-473D-8505-CC4CCC195FA7}"/>
                    </a:ext>
                  </a:extLst>
                </p:cNvPr>
                <p:cNvSpPr/>
                <p:nvPr/>
              </p:nvSpPr>
              <p:spPr>
                <a:xfrm>
                  <a:off x="1542714" y="2461475"/>
                  <a:ext cx="8061" cy="32245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6" name="Rectangle 1">
                  <a:extLst>
                    <a:ext uri="{FF2B5EF4-FFF2-40B4-BE49-F238E27FC236}">
                      <a16:creationId xmlns:a16="http://schemas.microsoft.com/office/drawing/2014/main" id="{53634B12-CA40-4C45-8BA1-CD0CE0BB5EE5}"/>
                    </a:ext>
                  </a:extLst>
                </p:cNvPr>
                <p:cNvSpPr/>
                <p:nvPr/>
              </p:nvSpPr>
              <p:spPr>
                <a:xfrm>
                  <a:off x="1519184" y="2474221"/>
                  <a:ext cx="8061" cy="16123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8" name="Time">
                <a:extLst>
                  <a:ext uri="{FF2B5EF4-FFF2-40B4-BE49-F238E27FC236}">
                    <a16:creationId xmlns:a16="http://schemas.microsoft.com/office/drawing/2014/main" id="{126901D2-1A45-4B2B-8D14-BEC7FFB88200}"/>
                  </a:ext>
                </a:extLst>
              </p:cNvPr>
              <p:cNvSpPr txBox="1"/>
              <p:nvPr/>
            </p:nvSpPr>
            <p:spPr>
              <a:xfrm>
                <a:off x="2432687" y="2427656"/>
                <a:ext cx="315333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8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:15 PM</a:t>
                </a:r>
              </a:p>
            </p:txBody>
          </p:sp>
          <p:sp>
            <p:nvSpPr>
              <p:cNvPr id="219" name="Battery Percentage">
                <a:extLst>
                  <a:ext uri="{FF2B5EF4-FFF2-40B4-BE49-F238E27FC236}">
                    <a16:creationId xmlns:a16="http://schemas.microsoft.com/office/drawing/2014/main" id="{410FC9AC-42D1-41BA-8F9C-CC89A1C61B0E}"/>
                  </a:ext>
                </a:extLst>
              </p:cNvPr>
              <p:cNvSpPr txBox="1"/>
              <p:nvPr/>
            </p:nvSpPr>
            <p:spPr>
              <a:xfrm>
                <a:off x="3371527" y="2430363"/>
                <a:ext cx="132238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18%</a:t>
                </a:r>
              </a:p>
            </p:txBody>
          </p:sp>
          <p:pic>
            <p:nvPicPr>
              <p:cNvPr id="220" name="Signal Graphic" descr="Wi Fi">
                <a:extLst>
                  <a:ext uri="{FF2B5EF4-FFF2-40B4-BE49-F238E27FC236}">
                    <a16:creationId xmlns:a16="http://schemas.microsoft.com/office/drawing/2014/main" id="{3F12347E-DB12-4469-8F8B-0CDA420DDA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605822" y="2406489"/>
                <a:ext cx="108816" cy="108816"/>
              </a:xfrm>
              <a:prstGeom prst="rect">
                <a:avLst/>
              </a:prstGeom>
            </p:spPr>
          </p:pic>
          <p:pic>
            <p:nvPicPr>
              <p:cNvPr id="221" name="Battery Icon" descr="Empty battery">
                <a:extLst>
                  <a:ext uri="{FF2B5EF4-FFF2-40B4-BE49-F238E27FC236}">
                    <a16:creationId xmlns:a16="http://schemas.microsoft.com/office/drawing/2014/main" id="{F4F332B7-A139-4D2F-866F-FE99C6D1B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516646" y="2412857"/>
                <a:ext cx="132237" cy="108817"/>
              </a:xfrm>
              <a:prstGeom prst="rect">
                <a:avLst/>
              </a:prstGeom>
            </p:spPr>
          </p:pic>
        </p:grpSp>
        <p:grpSp>
          <p:nvGrpSpPr>
            <p:cNvPr id="190" name="Mobile Placeholder">
              <a:extLst>
                <a:ext uri="{FF2B5EF4-FFF2-40B4-BE49-F238E27FC236}">
                  <a16:creationId xmlns:a16="http://schemas.microsoft.com/office/drawing/2014/main" id="{9389A146-2D5A-4350-A1D7-91BB3442082E}"/>
                </a:ext>
              </a:extLst>
            </p:cNvPr>
            <p:cNvGrpSpPr/>
            <p:nvPr/>
          </p:nvGrpSpPr>
          <p:grpSpPr>
            <a:xfrm>
              <a:off x="1357224" y="2005431"/>
              <a:ext cx="2449955" cy="4490624"/>
              <a:chOff x="2633629" y="2629128"/>
              <a:chExt cx="1135777" cy="2228569"/>
            </a:xfrm>
          </p:grpSpPr>
          <p:sp>
            <p:nvSpPr>
              <p:cNvPr id="191" name="Mobile Device Body and Screen">
                <a:extLst>
                  <a:ext uri="{FF2B5EF4-FFF2-40B4-BE49-F238E27FC236}">
                    <a16:creationId xmlns:a16="http://schemas.microsoft.com/office/drawing/2014/main" id="{16460CB7-F80D-471F-86DC-EA4E1910FE31}"/>
                  </a:ext>
                </a:extLst>
              </p:cNvPr>
              <p:cNvSpPr/>
              <p:nvPr/>
            </p:nvSpPr>
            <p:spPr>
              <a:xfrm>
                <a:off x="2649723" y="2629583"/>
                <a:ext cx="1102071" cy="2228114"/>
              </a:xfrm>
              <a:custGeom>
                <a:avLst/>
                <a:gdLst>
                  <a:gd name="connsiteX0" fmla="*/ 40280 w 1102071"/>
                  <a:gd name="connsiteY0" fmla="*/ 199535 h 2228114"/>
                  <a:gd name="connsiteX1" fmla="*/ 40280 w 1102071"/>
                  <a:gd name="connsiteY1" fmla="*/ 1992572 h 2228114"/>
                  <a:gd name="connsiteX2" fmla="*/ 1061792 w 1102071"/>
                  <a:gd name="connsiteY2" fmla="*/ 1992572 h 2228114"/>
                  <a:gd name="connsiteX3" fmla="*/ 1061792 w 1102071"/>
                  <a:gd name="connsiteY3" fmla="*/ 199535 h 2228114"/>
                  <a:gd name="connsiteX4" fmla="*/ 152483 w 1102071"/>
                  <a:gd name="connsiteY4" fmla="*/ 0 h 2228114"/>
                  <a:gd name="connsiteX5" fmla="*/ 949588 w 1102071"/>
                  <a:gd name="connsiteY5" fmla="*/ 0 h 2228114"/>
                  <a:gd name="connsiteX6" fmla="*/ 1102071 w 1102071"/>
                  <a:gd name="connsiteY6" fmla="*/ 152483 h 2228114"/>
                  <a:gd name="connsiteX7" fmla="*/ 1102071 w 1102071"/>
                  <a:gd name="connsiteY7" fmla="*/ 2075631 h 2228114"/>
                  <a:gd name="connsiteX8" fmla="*/ 949588 w 1102071"/>
                  <a:gd name="connsiteY8" fmla="*/ 2228114 h 2228114"/>
                  <a:gd name="connsiteX9" fmla="*/ 152483 w 1102071"/>
                  <a:gd name="connsiteY9" fmla="*/ 2228114 h 2228114"/>
                  <a:gd name="connsiteX10" fmla="*/ 0 w 1102071"/>
                  <a:gd name="connsiteY10" fmla="*/ 2075631 h 2228114"/>
                  <a:gd name="connsiteX11" fmla="*/ 0 w 1102071"/>
                  <a:gd name="connsiteY11" fmla="*/ 152483 h 2228114"/>
                  <a:gd name="connsiteX12" fmla="*/ 152483 w 1102071"/>
                  <a:gd name="connsiteY12" fmla="*/ 0 h 222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071" h="2228114">
                    <a:moveTo>
                      <a:pt x="40280" y="199535"/>
                    </a:moveTo>
                    <a:lnTo>
                      <a:pt x="40280" y="1992572"/>
                    </a:lnTo>
                    <a:lnTo>
                      <a:pt x="1061792" y="1992572"/>
                    </a:lnTo>
                    <a:lnTo>
                      <a:pt x="1061792" y="199535"/>
                    </a:lnTo>
                    <a:close/>
                    <a:moveTo>
                      <a:pt x="152483" y="0"/>
                    </a:moveTo>
                    <a:lnTo>
                      <a:pt x="949588" y="0"/>
                    </a:lnTo>
                    <a:cubicBezTo>
                      <a:pt x="1033802" y="0"/>
                      <a:pt x="1102071" y="68269"/>
                      <a:pt x="1102071" y="152483"/>
                    </a:cubicBezTo>
                    <a:lnTo>
                      <a:pt x="1102071" y="2075631"/>
                    </a:lnTo>
                    <a:cubicBezTo>
                      <a:pt x="1102071" y="2159845"/>
                      <a:pt x="1033802" y="2228114"/>
                      <a:pt x="949588" y="2228114"/>
                    </a:cubicBezTo>
                    <a:lnTo>
                      <a:pt x="152483" y="2228114"/>
                    </a:lnTo>
                    <a:cubicBezTo>
                      <a:pt x="68269" y="2228114"/>
                      <a:pt x="0" y="2159845"/>
                      <a:pt x="0" y="2075631"/>
                    </a:cubicBezTo>
                    <a:lnTo>
                      <a:pt x="0" y="152483"/>
                    </a:lnTo>
                    <a:cubicBezTo>
                      <a:pt x="0" y="68269"/>
                      <a:pt x="68269" y="0"/>
                      <a:pt x="15248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Mobile Home Button">
                <a:extLst>
                  <a:ext uri="{FF2B5EF4-FFF2-40B4-BE49-F238E27FC236}">
                    <a16:creationId xmlns:a16="http://schemas.microsoft.com/office/drawing/2014/main" id="{9DB76C2C-DEE8-461F-ADA6-4AC2593ADB86}"/>
                  </a:ext>
                </a:extLst>
              </p:cNvPr>
              <p:cNvSpPr/>
              <p:nvPr/>
            </p:nvSpPr>
            <p:spPr>
              <a:xfrm>
                <a:off x="3091364" y="4689451"/>
                <a:ext cx="218789" cy="107255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Rounded Rectangle 1">
                <a:extLst>
                  <a:ext uri="{FF2B5EF4-FFF2-40B4-BE49-F238E27FC236}">
                    <a16:creationId xmlns:a16="http://schemas.microsoft.com/office/drawing/2014/main" id="{31958670-B301-44E8-9C2D-285E3581778A}"/>
                  </a:ext>
                </a:extLst>
              </p:cNvPr>
              <p:cNvSpPr/>
              <p:nvPr/>
            </p:nvSpPr>
            <p:spPr>
              <a:xfrm>
                <a:off x="3111615" y="2716500"/>
                <a:ext cx="177522" cy="26474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Oval 3">
                <a:extLst>
                  <a:ext uri="{FF2B5EF4-FFF2-40B4-BE49-F238E27FC236}">
                    <a16:creationId xmlns:a16="http://schemas.microsoft.com/office/drawing/2014/main" id="{81FFA3DC-9A86-4395-A139-D405B4415F56}"/>
                  </a:ext>
                </a:extLst>
              </p:cNvPr>
              <p:cNvSpPr/>
              <p:nvPr/>
            </p:nvSpPr>
            <p:spPr>
              <a:xfrm flipH="1">
                <a:off x="3352328" y="2714956"/>
                <a:ext cx="31884" cy="31884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Oval 2">
                <a:extLst>
                  <a:ext uri="{FF2B5EF4-FFF2-40B4-BE49-F238E27FC236}">
                    <a16:creationId xmlns:a16="http://schemas.microsoft.com/office/drawing/2014/main" id="{5A9FE67B-66C1-4457-B923-F75732CC7E20}"/>
                  </a:ext>
                </a:extLst>
              </p:cNvPr>
              <p:cNvSpPr/>
              <p:nvPr/>
            </p:nvSpPr>
            <p:spPr>
              <a:xfrm>
                <a:off x="29988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Oval 1">
                <a:extLst>
                  <a:ext uri="{FF2B5EF4-FFF2-40B4-BE49-F238E27FC236}">
                    <a16:creationId xmlns:a16="http://schemas.microsoft.com/office/drawing/2014/main" id="{17C3499F-9D65-4D8F-89EC-3AFD6A1964E0}"/>
                  </a:ext>
                </a:extLst>
              </p:cNvPr>
              <p:cNvSpPr/>
              <p:nvPr/>
            </p:nvSpPr>
            <p:spPr>
              <a:xfrm>
                <a:off x="28640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Mobile Button 3">
                <a:extLst>
                  <a:ext uri="{FF2B5EF4-FFF2-40B4-BE49-F238E27FC236}">
                    <a16:creationId xmlns:a16="http://schemas.microsoft.com/office/drawing/2014/main" id="{1EB584CC-C64B-4E84-9516-0F2848CDE869}"/>
                  </a:ext>
                </a:extLst>
              </p:cNvPr>
              <p:cNvSpPr/>
              <p:nvPr/>
            </p:nvSpPr>
            <p:spPr>
              <a:xfrm>
                <a:off x="2633630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Mobile Button 2">
                <a:extLst>
                  <a:ext uri="{FF2B5EF4-FFF2-40B4-BE49-F238E27FC236}">
                    <a16:creationId xmlns:a16="http://schemas.microsoft.com/office/drawing/2014/main" id="{65DB9D33-E62F-489D-AEBB-163B1FC8ACEA}"/>
                  </a:ext>
                </a:extLst>
              </p:cNvPr>
              <p:cNvSpPr/>
              <p:nvPr/>
            </p:nvSpPr>
            <p:spPr>
              <a:xfrm>
                <a:off x="2633629" y="3282770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Mobile Button 1">
                <a:extLst>
                  <a:ext uri="{FF2B5EF4-FFF2-40B4-BE49-F238E27FC236}">
                    <a16:creationId xmlns:a16="http://schemas.microsoft.com/office/drawing/2014/main" id="{69063770-8FB7-458F-AFD7-0D7F90701EAD}"/>
                  </a:ext>
                </a:extLst>
              </p:cNvPr>
              <p:cNvSpPr/>
              <p:nvPr/>
            </p:nvSpPr>
            <p:spPr>
              <a:xfrm>
                <a:off x="3753504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Mobile Device Outline">
                <a:extLst>
                  <a:ext uri="{FF2B5EF4-FFF2-40B4-BE49-F238E27FC236}">
                    <a16:creationId xmlns:a16="http://schemas.microsoft.com/office/drawing/2014/main" id="{86E48A58-07EE-40F2-95FF-5AAB5C67CA6C}"/>
                  </a:ext>
                </a:extLst>
              </p:cNvPr>
              <p:cNvSpPr/>
              <p:nvPr/>
            </p:nvSpPr>
            <p:spPr>
              <a:xfrm>
                <a:off x="2650578" y="2629128"/>
                <a:ext cx="1102071" cy="2228114"/>
              </a:xfrm>
              <a:prstGeom prst="roundRect">
                <a:avLst>
                  <a:gd name="adj" fmla="val 1383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0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C3B7DA24-49A7-4704-868A-6AF5E6E7BB5F}"/>
              </a:ext>
            </a:extLst>
          </p:cNvPr>
          <p:cNvGrpSpPr/>
          <p:nvPr/>
        </p:nvGrpSpPr>
        <p:grpSpPr>
          <a:xfrm>
            <a:off x="9146225" y="4042027"/>
            <a:ext cx="1950118" cy="1177785"/>
            <a:chOff x="-5326399" y="1380314"/>
            <a:chExt cx="1228382" cy="622836"/>
          </a:xfrm>
        </p:grpSpPr>
        <p:sp>
          <p:nvSpPr>
            <p:cNvPr id="121" name="Rectangle 5">
              <a:extLst>
                <a:ext uri="{FF2B5EF4-FFF2-40B4-BE49-F238E27FC236}">
                  <a16:creationId xmlns:a16="http://schemas.microsoft.com/office/drawing/2014/main" id="{9790E2E4-5999-450D-B91F-4D1E4E1DCDC2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228381"/>
                <a:gd name="connsiteY0" fmla="*/ 0 h 64008"/>
                <a:gd name="connsiteX1" fmla="*/ 614191 w 1228381"/>
                <a:gd name="connsiteY1" fmla="*/ 0 h 64008"/>
                <a:gd name="connsiteX2" fmla="*/ 1228381 w 1228381"/>
                <a:gd name="connsiteY2" fmla="*/ 0 h 64008"/>
                <a:gd name="connsiteX3" fmla="*/ 1228381 w 1228381"/>
                <a:gd name="connsiteY3" fmla="*/ 64008 h 64008"/>
                <a:gd name="connsiteX4" fmla="*/ 589623 w 1228381"/>
                <a:gd name="connsiteY4" fmla="*/ 64008 h 64008"/>
                <a:gd name="connsiteX5" fmla="*/ 0 w 1228381"/>
                <a:gd name="connsiteY5" fmla="*/ 64008 h 64008"/>
                <a:gd name="connsiteX6" fmla="*/ 0 w 1228381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8381" h="64008" fill="none" extrusionOk="0">
                  <a:moveTo>
                    <a:pt x="0" y="0"/>
                  </a:moveTo>
                  <a:cubicBezTo>
                    <a:pt x="165142" y="-26428"/>
                    <a:pt x="313313" y="-27854"/>
                    <a:pt x="614191" y="0"/>
                  </a:cubicBezTo>
                  <a:cubicBezTo>
                    <a:pt x="915069" y="27854"/>
                    <a:pt x="997070" y="-23687"/>
                    <a:pt x="1228381" y="0"/>
                  </a:cubicBezTo>
                  <a:cubicBezTo>
                    <a:pt x="1231048" y="27787"/>
                    <a:pt x="1228947" y="42632"/>
                    <a:pt x="1228381" y="64008"/>
                  </a:cubicBezTo>
                  <a:cubicBezTo>
                    <a:pt x="922052" y="77269"/>
                    <a:pt x="869818" y="72455"/>
                    <a:pt x="589623" y="64008"/>
                  </a:cubicBezTo>
                  <a:cubicBezTo>
                    <a:pt x="309428" y="55561"/>
                    <a:pt x="127275" y="82096"/>
                    <a:pt x="0" y="64008"/>
                  </a:cubicBezTo>
                  <a:cubicBezTo>
                    <a:pt x="279" y="44606"/>
                    <a:pt x="-934" y="25820"/>
                    <a:pt x="0" y="0"/>
                  </a:cubicBezTo>
                  <a:close/>
                </a:path>
                <a:path w="1228381" h="64008" stroke="0" extrusionOk="0">
                  <a:moveTo>
                    <a:pt x="0" y="0"/>
                  </a:moveTo>
                  <a:cubicBezTo>
                    <a:pt x="167411" y="-22089"/>
                    <a:pt x="426488" y="1143"/>
                    <a:pt x="626474" y="0"/>
                  </a:cubicBezTo>
                  <a:cubicBezTo>
                    <a:pt x="826460" y="-1143"/>
                    <a:pt x="959873" y="19830"/>
                    <a:pt x="1228381" y="0"/>
                  </a:cubicBezTo>
                  <a:cubicBezTo>
                    <a:pt x="1225713" y="24987"/>
                    <a:pt x="1227770" y="51127"/>
                    <a:pt x="1228381" y="64008"/>
                  </a:cubicBezTo>
                  <a:cubicBezTo>
                    <a:pt x="964899" y="41709"/>
                    <a:pt x="898730" y="60030"/>
                    <a:pt x="589623" y="64008"/>
                  </a:cubicBezTo>
                  <a:cubicBezTo>
                    <a:pt x="280516" y="67986"/>
                    <a:pt x="166407" y="35384"/>
                    <a:pt x="0" y="64008"/>
                  </a:cubicBezTo>
                  <a:cubicBezTo>
                    <a:pt x="-1646" y="44721"/>
                    <a:pt x="1257" y="167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tangle 4">
              <a:extLst>
                <a:ext uri="{FF2B5EF4-FFF2-40B4-BE49-F238E27FC236}">
                  <a16:creationId xmlns:a16="http://schemas.microsoft.com/office/drawing/2014/main" id="{B408567B-BBD1-4996-8F27-C3383EBDD791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156123"/>
                <a:gd name="connsiteY0" fmla="*/ 0 h 64008"/>
                <a:gd name="connsiteX1" fmla="*/ 601184 w 1156123"/>
                <a:gd name="connsiteY1" fmla="*/ 0 h 64008"/>
                <a:gd name="connsiteX2" fmla="*/ 1156123 w 1156123"/>
                <a:gd name="connsiteY2" fmla="*/ 0 h 64008"/>
                <a:gd name="connsiteX3" fmla="*/ 1156123 w 1156123"/>
                <a:gd name="connsiteY3" fmla="*/ 64008 h 64008"/>
                <a:gd name="connsiteX4" fmla="*/ 566500 w 1156123"/>
                <a:gd name="connsiteY4" fmla="*/ 64008 h 64008"/>
                <a:gd name="connsiteX5" fmla="*/ 0 w 1156123"/>
                <a:gd name="connsiteY5" fmla="*/ 64008 h 64008"/>
                <a:gd name="connsiteX6" fmla="*/ 0 w 1156123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123" h="64008" fill="none" extrusionOk="0">
                  <a:moveTo>
                    <a:pt x="0" y="0"/>
                  </a:moveTo>
                  <a:cubicBezTo>
                    <a:pt x="138334" y="-18225"/>
                    <a:pt x="313638" y="20190"/>
                    <a:pt x="601184" y="0"/>
                  </a:cubicBezTo>
                  <a:cubicBezTo>
                    <a:pt x="888730" y="-20190"/>
                    <a:pt x="1032926" y="14422"/>
                    <a:pt x="1156123" y="0"/>
                  </a:cubicBezTo>
                  <a:cubicBezTo>
                    <a:pt x="1157324" y="16741"/>
                    <a:pt x="1153679" y="41845"/>
                    <a:pt x="1156123" y="64008"/>
                  </a:cubicBezTo>
                  <a:cubicBezTo>
                    <a:pt x="916827" y="39633"/>
                    <a:pt x="766170" y="43302"/>
                    <a:pt x="566500" y="64008"/>
                  </a:cubicBezTo>
                  <a:cubicBezTo>
                    <a:pt x="366830" y="84714"/>
                    <a:pt x="154499" y="76833"/>
                    <a:pt x="0" y="64008"/>
                  </a:cubicBezTo>
                  <a:cubicBezTo>
                    <a:pt x="1422" y="39840"/>
                    <a:pt x="2711" y="23338"/>
                    <a:pt x="0" y="0"/>
                  </a:cubicBezTo>
                  <a:close/>
                </a:path>
                <a:path w="1156123" h="64008" stroke="0" extrusionOk="0">
                  <a:moveTo>
                    <a:pt x="0" y="0"/>
                  </a:moveTo>
                  <a:cubicBezTo>
                    <a:pt x="166219" y="-22033"/>
                    <a:pt x="353438" y="27318"/>
                    <a:pt x="554939" y="0"/>
                  </a:cubicBezTo>
                  <a:cubicBezTo>
                    <a:pt x="756440" y="-27318"/>
                    <a:pt x="952613" y="-20057"/>
                    <a:pt x="1156123" y="0"/>
                  </a:cubicBezTo>
                  <a:cubicBezTo>
                    <a:pt x="1155374" y="20271"/>
                    <a:pt x="1158168" y="49605"/>
                    <a:pt x="1156123" y="64008"/>
                  </a:cubicBezTo>
                  <a:cubicBezTo>
                    <a:pt x="901980" y="83371"/>
                    <a:pt x="716074" y="68995"/>
                    <a:pt x="566500" y="64008"/>
                  </a:cubicBezTo>
                  <a:cubicBezTo>
                    <a:pt x="416926" y="59021"/>
                    <a:pt x="195891" y="79443"/>
                    <a:pt x="0" y="64008"/>
                  </a:cubicBezTo>
                  <a:cubicBezTo>
                    <a:pt x="2854" y="41256"/>
                    <a:pt x="2167" y="1843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tangle 3">
              <a:extLst>
                <a:ext uri="{FF2B5EF4-FFF2-40B4-BE49-F238E27FC236}">
                  <a16:creationId xmlns:a16="http://schemas.microsoft.com/office/drawing/2014/main" id="{B1CBBF95-C34B-4697-81A9-4606C7360E27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932688"/>
                <a:gd name="connsiteY0" fmla="*/ 0 h 64008"/>
                <a:gd name="connsiteX1" fmla="*/ 475671 w 932688"/>
                <a:gd name="connsiteY1" fmla="*/ 0 h 64008"/>
                <a:gd name="connsiteX2" fmla="*/ 932688 w 932688"/>
                <a:gd name="connsiteY2" fmla="*/ 0 h 64008"/>
                <a:gd name="connsiteX3" fmla="*/ 932688 w 932688"/>
                <a:gd name="connsiteY3" fmla="*/ 64008 h 64008"/>
                <a:gd name="connsiteX4" fmla="*/ 447690 w 932688"/>
                <a:gd name="connsiteY4" fmla="*/ 64008 h 64008"/>
                <a:gd name="connsiteX5" fmla="*/ 0 w 932688"/>
                <a:gd name="connsiteY5" fmla="*/ 64008 h 64008"/>
                <a:gd name="connsiteX6" fmla="*/ 0 w 93268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2688" h="64008" fill="none" extrusionOk="0">
                  <a:moveTo>
                    <a:pt x="0" y="0"/>
                  </a:moveTo>
                  <a:cubicBezTo>
                    <a:pt x="109317" y="3578"/>
                    <a:pt x="347583" y="22913"/>
                    <a:pt x="475671" y="0"/>
                  </a:cubicBezTo>
                  <a:cubicBezTo>
                    <a:pt x="603759" y="-22913"/>
                    <a:pt x="760272" y="8236"/>
                    <a:pt x="932688" y="0"/>
                  </a:cubicBezTo>
                  <a:cubicBezTo>
                    <a:pt x="932471" y="28692"/>
                    <a:pt x="934511" y="49533"/>
                    <a:pt x="932688" y="64008"/>
                  </a:cubicBezTo>
                  <a:cubicBezTo>
                    <a:pt x="735398" y="61622"/>
                    <a:pt x="633287" y="49920"/>
                    <a:pt x="447690" y="64008"/>
                  </a:cubicBezTo>
                  <a:cubicBezTo>
                    <a:pt x="262093" y="78096"/>
                    <a:pt x="98017" y="51756"/>
                    <a:pt x="0" y="64008"/>
                  </a:cubicBezTo>
                  <a:cubicBezTo>
                    <a:pt x="-1284" y="37907"/>
                    <a:pt x="510" y="23488"/>
                    <a:pt x="0" y="0"/>
                  </a:cubicBezTo>
                  <a:close/>
                </a:path>
                <a:path w="932688" h="64008" stroke="0" extrusionOk="0">
                  <a:moveTo>
                    <a:pt x="0" y="0"/>
                  </a:moveTo>
                  <a:cubicBezTo>
                    <a:pt x="200156" y="19546"/>
                    <a:pt x="294544" y="-7345"/>
                    <a:pt x="447690" y="0"/>
                  </a:cubicBezTo>
                  <a:cubicBezTo>
                    <a:pt x="600836" y="7345"/>
                    <a:pt x="738317" y="18659"/>
                    <a:pt x="932688" y="0"/>
                  </a:cubicBezTo>
                  <a:cubicBezTo>
                    <a:pt x="930798" y="18002"/>
                    <a:pt x="934551" y="37102"/>
                    <a:pt x="932688" y="64008"/>
                  </a:cubicBezTo>
                  <a:cubicBezTo>
                    <a:pt x="742216" y="82812"/>
                    <a:pt x="616855" y="63230"/>
                    <a:pt x="457017" y="64008"/>
                  </a:cubicBezTo>
                  <a:cubicBezTo>
                    <a:pt x="297179" y="64786"/>
                    <a:pt x="180098" y="47449"/>
                    <a:pt x="0" y="64008"/>
                  </a:cubicBezTo>
                  <a:cubicBezTo>
                    <a:pt x="-80" y="37080"/>
                    <a:pt x="3083" y="147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tangle 2">
              <a:extLst>
                <a:ext uri="{FF2B5EF4-FFF2-40B4-BE49-F238E27FC236}">
                  <a16:creationId xmlns:a16="http://schemas.microsoft.com/office/drawing/2014/main" id="{B88F1D1D-7883-4F78-8ED4-2EEF409CB5B8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011608"/>
                <a:gd name="connsiteY0" fmla="*/ 0 h 64008"/>
                <a:gd name="connsiteX1" fmla="*/ 475456 w 1011608"/>
                <a:gd name="connsiteY1" fmla="*/ 0 h 64008"/>
                <a:gd name="connsiteX2" fmla="*/ 1011608 w 1011608"/>
                <a:gd name="connsiteY2" fmla="*/ 0 h 64008"/>
                <a:gd name="connsiteX3" fmla="*/ 1011608 w 1011608"/>
                <a:gd name="connsiteY3" fmla="*/ 64008 h 64008"/>
                <a:gd name="connsiteX4" fmla="*/ 495688 w 1011608"/>
                <a:gd name="connsiteY4" fmla="*/ 64008 h 64008"/>
                <a:gd name="connsiteX5" fmla="*/ 0 w 1011608"/>
                <a:gd name="connsiteY5" fmla="*/ 64008 h 64008"/>
                <a:gd name="connsiteX6" fmla="*/ 0 w 101160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1608" h="64008" fill="none" extrusionOk="0">
                  <a:moveTo>
                    <a:pt x="0" y="0"/>
                  </a:moveTo>
                  <a:cubicBezTo>
                    <a:pt x="197554" y="-21691"/>
                    <a:pt x="380014" y="-11599"/>
                    <a:pt x="475456" y="0"/>
                  </a:cubicBezTo>
                  <a:cubicBezTo>
                    <a:pt x="570898" y="11599"/>
                    <a:pt x="782937" y="-5214"/>
                    <a:pt x="1011608" y="0"/>
                  </a:cubicBezTo>
                  <a:cubicBezTo>
                    <a:pt x="1011841" y="15641"/>
                    <a:pt x="1009721" y="34909"/>
                    <a:pt x="1011608" y="64008"/>
                  </a:cubicBezTo>
                  <a:cubicBezTo>
                    <a:pt x="779116" y="85202"/>
                    <a:pt x="615303" y="78058"/>
                    <a:pt x="495688" y="64008"/>
                  </a:cubicBezTo>
                  <a:cubicBezTo>
                    <a:pt x="376073" y="49958"/>
                    <a:pt x="140136" y="47640"/>
                    <a:pt x="0" y="64008"/>
                  </a:cubicBezTo>
                  <a:cubicBezTo>
                    <a:pt x="3173" y="46995"/>
                    <a:pt x="-2625" y="25867"/>
                    <a:pt x="0" y="0"/>
                  </a:cubicBezTo>
                  <a:close/>
                </a:path>
                <a:path w="1011608" h="64008" stroke="0" extrusionOk="0">
                  <a:moveTo>
                    <a:pt x="0" y="0"/>
                  </a:moveTo>
                  <a:cubicBezTo>
                    <a:pt x="187624" y="-17970"/>
                    <a:pt x="388346" y="13916"/>
                    <a:pt x="485572" y="0"/>
                  </a:cubicBezTo>
                  <a:cubicBezTo>
                    <a:pt x="582798" y="-13916"/>
                    <a:pt x="756689" y="9945"/>
                    <a:pt x="1011608" y="0"/>
                  </a:cubicBezTo>
                  <a:cubicBezTo>
                    <a:pt x="1009361" y="30074"/>
                    <a:pt x="1012688" y="42635"/>
                    <a:pt x="1011608" y="64008"/>
                  </a:cubicBezTo>
                  <a:cubicBezTo>
                    <a:pt x="854532" y="57458"/>
                    <a:pt x="733233" y="54927"/>
                    <a:pt x="505804" y="64008"/>
                  </a:cubicBezTo>
                  <a:cubicBezTo>
                    <a:pt x="278375" y="73089"/>
                    <a:pt x="130855" y="42822"/>
                    <a:pt x="0" y="64008"/>
                  </a:cubicBezTo>
                  <a:cubicBezTo>
                    <a:pt x="-3178" y="36820"/>
                    <a:pt x="-2722" y="28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tangle 1">
              <a:extLst>
                <a:ext uri="{FF2B5EF4-FFF2-40B4-BE49-F238E27FC236}">
                  <a16:creationId xmlns:a16="http://schemas.microsoft.com/office/drawing/2014/main" id="{BC5F6855-9E05-4D84-BE4D-2FBE7014CDD2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869092"/>
                <a:gd name="connsiteY0" fmla="*/ 0 h 64008"/>
                <a:gd name="connsiteX1" fmla="*/ 451928 w 869092"/>
                <a:gd name="connsiteY1" fmla="*/ 0 h 64008"/>
                <a:gd name="connsiteX2" fmla="*/ 869092 w 869092"/>
                <a:gd name="connsiteY2" fmla="*/ 0 h 64008"/>
                <a:gd name="connsiteX3" fmla="*/ 869092 w 869092"/>
                <a:gd name="connsiteY3" fmla="*/ 64008 h 64008"/>
                <a:gd name="connsiteX4" fmla="*/ 443237 w 869092"/>
                <a:gd name="connsiteY4" fmla="*/ 64008 h 64008"/>
                <a:gd name="connsiteX5" fmla="*/ 0 w 869092"/>
                <a:gd name="connsiteY5" fmla="*/ 64008 h 64008"/>
                <a:gd name="connsiteX6" fmla="*/ 0 w 869092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092" h="64008" fill="none" extrusionOk="0">
                  <a:moveTo>
                    <a:pt x="0" y="0"/>
                  </a:moveTo>
                  <a:cubicBezTo>
                    <a:pt x="109012" y="18379"/>
                    <a:pt x="348535" y="-18141"/>
                    <a:pt x="451928" y="0"/>
                  </a:cubicBezTo>
                  <a:cubicBezTo>
                    <a:pt x="555321" y="18141"/>
                    <a:pt x="748048" y="-6654"/>
                    <a:pt x="869092" y="0"/>
                  </a:cubicBezTo>
                  <a:cubicBezTo>
                    <a:pt x="872239" y="21123"/>
                    <a:pt x="867620" y="35558"/>
                    <a:pt x="869092" y="64008"/>
                  </a:cubicBezTo>
                  <a:cubicBezTo>
                    <a:pt x="682938" y="74288"/>
                    <a:pt x="584473" y="51890"/>
                    <a:pt x="443237" y="64008"/>
                  </a:cubicBezTo>
                  <a:cubicBezTo>
                    <a:pt x="302002" y="76126"/>
                    <a:pt x="150286" y="50849"/>
                    <a:pt x="0" y="64008"/>
                  </a:cubicBezTo>
                  <a:cubicBezTo>
                    <a:pt x="-2411" y="33843"/>
                    <a:pt x="1447" y="23221"/>
                    <a:pt x="0" y="0"/>
                  </a:cubicBezTo>
                  <a:close/>
                </a:path>
                <a:path w="869092" h="64008" stroke="0" extrusionOk="0">
                  <a:moveTo>
                    <a:pt x="0" y="0"/>
                  </a:moveTo>
                  <a:cubicBezTo>
                    <a:pt x="154071" y="-18764"/>
                    <a:pt x="254687" y="20448"/>
                    <a:pt x="425855" y="0"/>
                  </a:cubicBezTo>
                  <a:cubicBezTo>
                    <a:pt x="597023" y="-20448"/>
                    <a:pt x="739597" y="3820"/>
                    <a:pt x="869092" y="0"/>
                  </a:cubicBezTo>
                  <a:cubicBezTo>
                    <a:pt x="870588" y="25188"/>
                    <a:pt x="869529" y="50929"/>
                    <a:pt x="869092" y="64008"/>
                  </a:cubicBezTo>
                  <a:cubicBezTo>
                    <a:pt x="728868" y="65134"/>
                    <a:pt x="620845" y="85554"/>
                    <a:pt x="434546" y="64008"/>
                  </a:cubicBezTo>
                  <a:cubicBezTo>
                    <a:pt x="248247" y="42462"/>
                    <a:pt x="134031" y="80743"/>
                    <a:pt x="0" y="64008"/>
                  </a:cubicBezTo>
                  <a:cubicBezTo>
                    <a:pt x="-2503" y="44586"/>
                    <a:pt x="3172" y="2066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6" name="Placeholder Text 1">
            <a:extLst>
              <a:ext uri="{FF2B5EF4-FFF2-40B4-BE49-F238E27FC236}">
                <a16:creationId xmlns:a16="http://schemas.microsoft.com/office/drawing/2014/main" id="{6D886072-5B6E-4417-925E-E87A4E46E787}"/>
              </a:ext>
            </a:extLst>
          </p:cNvPr>
          <p:cNvSpPr txBox="1"/>
          <p:nvPr/>
        </p:nvSpPr>
        <p:spPr>
          <a:xfrm>
            <a:off x="539816" y="5646155"/>
            <a:ext cx="2949891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able of data</a:t>
            </a:r>
          </a:p>
        </p:txBody>
      </p:sp>
      <p:grpSp>
        <p:nvGrpSpPr>
          <p:cNvPr id="127" name="Filled Picture Placeholder 3" descr="Picture placeholder 3">
            <a:extLst>
              <a:ext uri="{FF2B5EF4-FFF2-40B4-BE49-F238E27FC236}">
                <a16:creationId xmlns:a16="http://schemas.microsoft.com/office/drawing/2014/main" id="{93E3D8AE-12D2-4F5A-8970-B2CE6C879DF7}"/>
              </a:ext>
            </a:extLst>
          </p:cNvPr>
          <p:cNvGrpSpPr/>
          <p:nvPr/>
        </p:nvGrpSpPr>
        <p:grpSpPr>
          <a:xfrm>
            <a:off x="594753" y="2788006"/>
            <a:ext cx="2683473" cy="2843437"/>
            <a:chOff x="7281490" y="8160201"/>
            <a:chExt cx="926293" cy="555948"/>
          </a:xfrm>
        </p:grpSpPr>
        <p:sp>
          <p:nvSpPr>
            <p:cNvPr id="128" name="Picture Placeholder">
              <a:extLst>
                <a:ext uri="{FF2B5EF4-FFF2-40B4-BE49-F238E27FC236}">
                  <a16:creationId xmlns:a16="http://schemas.microsoft.com/office/drawing/2014/main" id="{FD8D06A8-DA25-4E71-999C-2F1487BFDCBB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926293"/>
                <a:gd name="connsiteY0" fmla="*/ 6866 h 555948"/>
                <a:gd name="connsiteX1" fmla="*/ 6866 w 926293"/>
                <a:gd name="connsiteY1" fmla="*/ 0 h 555948"/>
                <a:gd name="connsiteX2" fmla="*/ 463147 w 926293"/>
                <a:gd name="connsiteY2" fmla="*/ 0 h 555948"/>
                <a:gd name="connsiteX3" fmla="*/ 919427 w 926293"/>
                <a:gd name="connsiteY3" fmla="*/ 0 h 555948"/>
                <a:gd name="connsiteX4" fmla="*/ 926293 w 926293"/>
                <a:gd name="connsiteY4" fmla="*/ 6866 h 555948"/>
                <a:gd name="connsiteX5" fmla="*/ 926293 w 926293"/>
                <a:gd name="connsiteY5" fmla="*/ 549082 h 555948"/>
                <a:gd name="connsiteX6" fmla="*/ 919427 w 926293"/>
                <a:gd name="connsiteY6" fmla="*/ 555948 h 555948"/>
                <a:gd name="connsiteX7" fmla="*/ 463147 w 926293"/>
                <a:gd name="connsiteY7" fmla="*/ 555948 h 555948"/>
                <a:gd name="connsiteX8" fmla="*/ 6866 w 926293"/>
                <a:gd name="connsiteY8" fmla="*/ 555948 h 555948"/>
                <a:gd name="connsiteX9" fmla="*/ 0 w 926293"/>
                <a:gd name="connsiteY9" fmla="*/ 549082 h 555948"/>
                <a:gd name="connsiteX10" fmla="*/ 0 w 926293"/>
                <a:gd name="connsiteY10" fmla="*/ 6866 h 55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6293" h="555948" fill="none" extrusionOk="0">
                  <a:moveTo>
                    <a:pt x="0" y="6866"/>
                  </a:moveTo>
                  <a:cubicBezTo>
                    <a:pt x="-30" y="3958"/>
                    <a:pt x="2921" y="-476"/>
                    <a:pt x="6866" y="0"/>
                  </a:cubicBezTo>
                  <a:cubicBezTo>
                    <a:pt x="191964" y="21782"/>
                    <a:pt x="249696" y="-2468"/>
                    <a:pt x="463147" y="0"/>
                  </a:cubicBezTo>
                  <a:cubicBezTo>
                    <a:pt x="676598" y="2468"/>
                    <a:pt x="791606" y="13234"/>
                    <a:pt x="919427" y="0"/>
                  </a:cubicBezTo>
                  <a:cubicBezTo>
                    <a:pt x="923030" y="-544"/>
                    <a:pt x="926198" y="2993"/>
                    <a:pt x="926293" y="6866"/>
                  </a:cubicBezTo>
                  <a:cubicBezTo>
                    <a:pt x="953109" y="237565"/>
                    <a:pt x="900117" y="374835"/>
                    <a:pt x="926293" y="549082"/>
                  </a:cubicBezTo>
                  <a:cubicBezTo>
                    <a:pt x="925616" y="553142"/>
                    <a:pt x="923370" y="556001"/>
                    <a:pt x="919427" y="555948"/>
                  </a:cubicBezTo>
                  <a:cubicBezTo>
                    <a:pt x="746083" y="565383"/>
                    <a:pt x="657548" y="534151"/>
                    <a:pt x="463147" y="555948"/>
                  </a:cubicBezTo>
                  <a:cubicBezTo>
                    <a:pt x="268746" y="577745"/>
                    <a:pt x="131909" y="546671"/>
                    <a:pt x="6866" y="555948"/>
                  </a:cubicBezTo>
                  <a:cubicBezTo>
                    <a:pt x="3639" y="555867"/>
                    <a:pt x="-143" y="553017"/>
                    <a:pt x="0" y="549082"/>
                  </a:cubicBezTo>
                  <a:cubicBezTo>
                    <a:pt x="-673" y="349520"/>
                    <a:pt x="26484" y="121425"/>
                    <a:pt x="0" y="6866"/>
                  </a:cubicBezTo>
                  <a:close/>
                </a:path>
                <a:path w="926293" h="555948" stroke="0" extrusionOk="0">
                  <a:moveTo>
                    <a:pt x="0" y="6866"/>
                  </a:moveTo>
                  <a:cubicBezTo>
                    <a:pt x="-22" y="2747"/>
                    <a:pt x="3253" y="-546"/>
                    <a:pt x="6866" y="0"/>
                  </a:cubicBezTo>
                  <a:cubicBezTo>
                    <a:pt x="142052" y="-7444"/>
                    <a:pt x="274827" y="14461"/>
                    <a:pt x="444895" y="0"/>
                  </a:cubicBezTo>
                  <a:cubicBezTo>
                    <a:pt x="614963" y="-14461"/>
                    <a:pt x="688792" y="-10209"/>
                    <a:pt x="919427" y="0"/>
                  </a:cubicBezTo>
                  <a:cubicBezTo>
                    <a:pt x="923341" y="224"/>
                    <a:pt x="926288" y="3813"/>
                    <a:pt x="926293" y="6866"/>
                  </a:cubicBezTo>
                  <a:cubicBezTo>
                    <a:pt x="916543" y="188338"/>
                    <a:pt x="942619" y="391448"/>
                    <a:pt x="926293" y="549082"/>
                  </a:cubicBezTo>
                  <a:cubicBezTo>
                    <a:pt x="925830" y="552079"/>
                    <a:pt x="923456" y="555697"/>
                    <a:pt x="919427" y="555948"/>
                  </a:cubicBezTo>
                  <a:cubicBezTo>
                    <a:pt x="734782" y="542145"/>
                    <a:pt x="649506" y="568689"/>
                    <a:pt x="481398" y="555948"/>
                  </a:cubicBezTo>
                  <a:cubicBezTo>
                    <a:pt x="313290" y="543207"/>
                    <a:pt x="192922" y="536094"/>
                    <a:pt x="6866" y="555948"/>
                  </a:cubicBezTo>
                  <a:cubicBezTo>
                    <a:pt x="3652" y="556077"/>
                    <a:pt x="-614" y="553399"/>
                    <a:pt x="0" y="549082"/>
                  </a:cubicBezTo>
                  <a:cubicBezTo>
                    <a:pt x="14576" y="326573"/>
                    <a:pt x="23897" y="206876"/>
                    <a:pt x="0" y="68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29" name="Picture Placeholder Graphic">
              <a:extLst>
                <a:ext uri="{FF2B5EF4-FFF2-40B4-BE49-F238E27FC236}">
                  <a16:creationId xmlns:a16="http://schemas.microsoft.com/office/drawing/2014/main" id="{3F79150F-2074-4247-A4F2-49FB8171372C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30" name="Triangle 2">
                <a:extLst>
                  <a:ext uri="{FF2B5EF4-FFF2-40B4-BE49-F238E27FC236}">
                    <a16:creationId xmlns:a16="http://schemas.microsoft.com/office/drawing/2014/main" id="{D6013176-D13B-413D-8753-169667ECAA83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Triangle 1">
                <a:extLst>
                  <a:ext uri="{FF2B5EF4-FFF2-40B4-BE49-F238E27FC236}">
                    <a16:creationId xmlns:a16="http://schemas.microsoft.com/office/drawing/2014/main" id="{AC18FFBC-B09A-4D93-8085-3020064294D9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Circle">
                <a:extLst>
                  <a:ext uri="{FF2B5EF4-FFF2-40B4-BE49-F238E27FC236}">
                    <a16:creationId xmlns:a16="http://schemas.microsoft.com/office/drawing/2014/main" id="{9E40A3F7-1DA7-447A-846F-2EE6C9FBCFAF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33" name="Filled Picture Placeholder 3" descr="Picture placeholder 3">
            <a:extLst>
              <a:ext uri="{FF2B5EF4-FFF2-40B4-BE49-F238E27FC236}">
                <a16:creationId xmlns:a16="http://schemas.microsoft.com/office/drawing/2014/main" id="{E347A076-8621-4ACB-9B28-332F4D86F650}"/>
              </a:ext>
            </a:extLst>
          </p:cNvPr>
          <p:cNvGrpSpPr/>
          <p:nvPr/>
        </p:nvGrpSpPr>
        <p:grpSpPr>
          <a:xfrm>
            <a:off x="9094626" y="2641597"/>
            <a:ext cx="1923082" cy="1171582"/>
            <a:chOff x="7281490" y="8160201"/>
            <a:chExt cx="926293" cy="555948"/>
          </a:xfrm>
        </p:grpSpPr>
        <p:sp>
          <p:nvSpPr>
            <p:cNvPr id="134" name="Picture Placeholder">
              <a:extLst>
                <a:ext uri="{FF2B5EF4-FFF2-40B4-BE49-F238E27FC236}">
                  <a16:creationId xmlns:a16="http://schemas.microsoft.com/office/drawing/2014/main" id="{7C766C7E-805D-45DA-A2CB-0332C4B8FCF4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926293"/>
                <a:gd name="connsiteY0" fmla="*/ 6866 h 555948"/>
                <a:gd name="connsiteX1" fmla="*/ 6866 w 926293"/>
                <a:gd name="connsiteY1" fmla="*/ 0 h 555948"/>
                <a:gd name="connsiteX2" fmla="*/ 463147 w 926293"/>
                <a:gd name="connsiteY2" fmla="*/ 0 h 555948"/>
                <a:gd name="connsiteX3" fmla="*/ 919427 w 926293"/>
                <a:gd name="connsiteY3" fmla="*/ 0 h 555948"/>
                <a:gd name="connsiteX4" fmla="*/ 926293 w 926293"/>
                <a:gd name="connsiteY4" fmla="*/ 6866 h 555948"/>
                <a:gd name="connsiteX5" fmla="*/ 926293 w 926293"/>
                <a:gd name="connsiteY5" fmla="*/ 549082 h 555948"/>
                <a:gd name="connsiteX6" fmla="*/ 919427 w 926293"/>
                <a:gd name="connsiteY6" fmla="*/ 555948 h 555948"/>
                <a:gd name="connsiteX7" fmla="*/ 463147 w 926293"/>
                <a:gd name="connsiteY7" fmla="*/ 555948 h 555948"/>
                <a:gd name="connsiteX8" fmla="*/ 6866 w 926293"/>
                <a:gd name="connsiteY8" fmla="*/ 555948 h 555948"/>
                <a:gd name="connsiteX9" fmla="*/ 0 w 926293"/>
                <a:gd name="connsiteY9" fmla="*/ 549082 h 555948"/>
                <a:gd name="connsiteX10" fmla="*/ 0 w 926293"/>
                <a:gd name="connsiteY10" fmla="*/ 6866 h 55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6293" h="555948" fill="none" extrusionOk="0">
                  <a:moveTo>
                    <a:pt x="0" y="6866"/>
                  </a:moveTo>
                  <a:cubicBezTo>
                    <a:pt x="-30" y="3958"/>
                    <a:pt x="2921" y="-476"/>
                    <a:pt x="6866" y="0"/>
                  </a:cubicBezTo>
                  <a:cubicBezTo>
                    <a:pt x="191964" y="21782"/>
                    <a:pt x="249696" y="-2468"/>
                    <a:pt x="463147" y="0"/>
                  </a:cubicBezTo>
                  <a:cubicBezTo>
                    <a:pt x="676598" y="2468"/>
                    <a:pt x="791606" y="13234"/>
                    <a:pt x="919427" y="0"/>
                  </a:cubicBezTo>
                  <a:cubicBezTo>
                    <a:pt x="923030" y="-544"/>
                    <a:pt x="926198" y="2993"/>
                    <a:pt x="926293" y="6866"/>
                  </a:cubicBezTo>
                  <a:cubicBezTo>
                    <a:pt x="953109" y="237565"/>
                    <a:pt x="900117" y="374835"/>
                    <a:pt x="926293" y="549082"/>
                  </a:cubicBezTo>
                  <a:cubicBezTo>
                    <a:pt x="925616" y="553142"/>
                    <a:pt x="923370" y="556001"/>
                    <a:pt x="919427" y="555948"/>
                  </a:cubicBezTo>
                  <a:cubicBezTo>
                    <a:pt x="746083" y="565383"/>
                    <a:pt x="657548" y="534151"/>
                    <a:pt x="463147" y="555948"/>
                  </a:cubicBezTo>
                  <a:cubicBezTo>
                    <a:pt x="268746" y="577745"/>
                    <a:pt x="131909" y="546671"/>
                    <a:pt x="6866" y="555948"/>
                  </a:cubicBezTo>
                  <a:cubicBezTo>
                    <a:pt x="3639" y="555867"/>
                    <a:pt x="-143" y="553017"/>
                    <a:pt x="0" y="549082"/>
                  </a:cubicBezTo>
                  <a:cubicBezTo>
                    <a:pt x="-673" y="349520"/>
                    <a:pt x="26484" y="121425"/>
                    <a:pt x="0" y="6866"/>
                  </a:cubicBezTo>
                  <a:close/>
                </a:path>
                <a:path w="926293" h="555948" stroke="0" extrusionOk="0">
                  <a:moveTo>
                    <a:pt x="0" y="6866"/>
                  </a:moveTo>
                  <a:cubicBezTo>
                    <a:pt x="-22" y="2747"/>
                    <a:pt x="3253" y="-546"/>
                    <a:pt x="6866" y="0"/>
                  </a:cubicBezTo>
                  <a:cubicBezTo>
                    <a:pt x="142052" y="-7444"/>
                    <a:pt x="274827" y="14461"/>
                    <a:pt x="444895" y="0"/>
                  </a:cubicBezTo>
                  <a:cubicBezTo>
                    <a:pt x="614963" y="-14461"/>
                    <a:pt x="688792" y="-10209"/>
                    <a:pt x="919427" y="0"/>
                  </a:cubicBezTo>
                  <a:cubicBezTo>
                    <a:pt x="923341" y="224"/>
                    <a:pt x="926288" y="3813"/>
                    <a:pt x="926293" y="6866"/>
                  </a:cubicBezTo>
                  <a:cubicBezTo>
                    <a:pt x="916543" y="188338"/>
                    <a:pt x="942619" y="391448"/>
                    <a:pt x="926293" y="549082"/>
                  </a:cubicBezTo>
                  <a:cubicBezTo>
                    <a:pt x="925830" y="552079"/>
                    <a:pt x="923456" y="555697"/>
                    <a:pt x="919427" y="555948"/>
                  </a:cubicBezTo>
                  <a:cubicBezTo>
                    <a:pt x="734782" y="542145"/>
                    <a:pt x="649506" y="568689"/>
                    <a:pt x="481398" y="555948"/>
                  </a:cubicBezTo>
                  <a:cubicBezTo>
                    <a:pt x="313290" y="543207"/>
                    <a:pt x="192922" y="536094"/>
                    <a:pt x="6866" y="555948"/>
                  </a:cubicBezTo>
                  <a:cubicBezTo>
                    <a:pt x="3652" y="556077"/>
                    <a:pt x="-614" y="553399"/>
                    <a:pt x="0" y="549082"/>
                  </a:cubicBezTo>
                  <a:cubicBezTo>
                    <a:pt x="14576" y="326573"/>
                    <a:pt x="23897" y="206876"/>
                    <a:pt x="0" y="68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5" name="Picture Placeholder Graphic">
              <a:extLst>
                <a:ext uri="{FF2B5EF4-FFF2-40B4-BE49-F238E27FC236}">
                  <a16:creationId xmlns:a16="http://schemas.microsoft.com/office/drawing/2014/main" id="{3E20099B-B405-4BBF-8F77-ECC387268CA3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36" name="Triangle 2">
                <a:extLst>
                  <a:ext uri="{FF2B5EF4-FFF2-40B4-BE49-F238E27FC236}">
                    <a16:creationId xmlns:a16="http://schemas.microsoft.com/office/drawing/2014/main" id="{E473FF71-5D54-4DB5-B7A8-531B88FA3FAE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Triangle 1">
                <a:extLst>
                  <a:ext uri="{FF2B5EF4-FFF2-40B4-BE49-F238E27FC236}">
                    <a16:creationId xmlns:a16="http://schemas.microsoft.com/office/drawing/2014/main" id="{C01FA824-D08F-4A8F-82BD-6D43952F7DD9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8" name="Circle">
                <a:extLst>
                  <a:ext uri="{FF2B5EF4-FFF2-40B4-BE49-F238E27FC236}">
                    <a16:creationId xmlns:a16="http://schemas.microsoft.com/office/drawing/2014/main" id="{B7D80EDF-5A1F-46B3-844F-F2059363689B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103" name="Wifi Signal Icon" descr="Signal">
            <a:extLst>
              <a:ext uri="{FF2B5EF4-FFF2-40B4-BE49-F238E27FC236}">
                <a16:creationId xmlns:a16="http://schemas.microsoft.com/office/drawing/2014/main" id="{3030630E-6E4E-4B1A-B8AD-DD2B6B23269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231791" y="2057563"/>
            <a:ext cx="271471" cy="271472"/>
          </a:xfrm>
          <a:prstGeom prst="rect">
            <a:avLst/>
          </a:prstGeom>
        </p:spPr>
      </p:pic>
      <p:pic>
        <p:nvPicPr>
          <p:cNvPr id="104" name="Person Icon" descr="User">
            <a:extLst>
              <a:ext uri="{FF2B5EF4-FFF2-40B4-BE49-F238E27FC236}">
                <a16:creationId xmlns:a16="http://schemas.microsoft.com/office/drawing/2014/main" id="{E86106F9-2201-4B9C-9849-1F03B1194DB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13876" y="2061274"/>
            <a:ext cx="271471" cy="271472"/>
          </a:xfrm>
          <a:prstGeom prst="rect">
            <a:avLst/>
          </a:prstGeom>
        </p:spPr>
      </p:pic>
      <p:pic>
        <p:nvPicPr>
          <p:cNvPr id="105" name="Home Icon" descr="Home">
            <a:extLst>
              <a:ext uri="{FF2B5EF4-FFF2-40B4-BE49-F238E27FC236}">
                <a16:creationId xmlns:a16="http://schemas.microsoft.com/office/drawing/2014/main" id="{8B389736-0A41-4FA3-8D2C-66D5CD76FD6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58077" y="2048518"/>
            <a:ext cx="271471" cy="271472"/>
          </a:xfrm>
          <a:prstGeom prst="rect">
            <a:avLst/>
          </a:prstGeom>
        </p:spPr>
      </p:pic>
      <p:sp>
        <p:nvSpPr>
          <p:cNvPr id="106" name="Placeholder Text 1">
            <a:extLst>
              <a:ext uri="{FF2B5EF4-FFF2-40B4-BE49-F238E27FC236}">
                <a16:creationId xmlns:a16="http://schemas.microsoft.com/office/drawing/2014/main" id="{4E2EAD84-824A-4728-AB69-6A18917BBC99}"/>
              </a:ext>
            </a:extLst>
          </p:cNvPr>
          <p:cNvSpPr txBox="1"/>
          <p:nvPr/>
        </p:nvSpPr>
        <p:spPr>
          <a:xfrm>
            <a:off x="539816" y="2313519"/>
            <a:ext cx="100827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ft-to-right: Home Page, Group Details Page, Data Page</a:t>
            </a:r>
          </a:p>
        </p:txBody>
      </p:sp>
      <p:grpSp>
        <p:nvGrpSpPr>
          <p:cNvPr id="107" name="Filled Picture Placeholder 3" descr="Picture placeholder 3">
            <a:extLst>
              <a:ext uri="{FF2B5EF4-FFF2-40B4-BE49-F238E27FC236}">
                <a16:creationId xmlns:a16="http://schemas.microsoft.com/office/drawing/2014/main" id="{E02CB69D-25B8-42BC-BE84-F8ADF74ECA60}"/>
              </a:ext>
            </a:extLst>
          </p:cNvPr>
          <p:cNvGrpSpPr/>
          <p:nvPr/>
        </p:nvGrpSpPr>
        <p:grpSpPr>
          <a:xfrm>
            <a:off x="3363188" y="2800520"/>
            <a:ext cx="963235" cy="1342291"/>
            <a:chOff x="7281490" y="8160201"/>
            <a:chExt cx="926293" cy="555948"/>
          </a:xfrm>
        </p:grpSpPr>
        <p:sp>
          <p:nvSpPr>
            <p:cNvPr id="108" name="Picture Placeholder">
              <a:extLst>
                <a:ext uri="{FF2B5EF4-FFF2-40B4-BE49-F238E27FC236}">
                  <a16:creationId xmlns:a16="http://schemas.microsoft.com/office/drawing/2014/main" id="{923965DF-E4AE-4BCC-857F-C66754AA8AEF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926293"/>
                <a:gd name="connsiteY0" fmla="*/ 6866 h 555948"/>
                <a:gd name="connsiteX1" fmla="*/ 6866 w 926293"/>
                <a:gd name="connsiteY1" fmla="*/ 0 h 555948"/>
                <a:gd name="connsiteX2" fmla="*/ 463147 w 926293"/>
                <a:gd name="connsiteY2" fmla="*/ 0 h 555948"/>
                <a:gd name="connsiteX3" fmla="*/ 919427 w 926293"/>
                <a:gd name="connsiteY3" fmla="*/ 0 h 555948"/>
                <a:gd name="connsiteX4" fmla="*/ 926293 w 926293"/>
                <a:gd name="connsiteY4" fmla="*/ 6866 h 555948"/>
                <a:gd name="connsiteX5" fmla="*/ 926293 w 926293"/>
                <a:gd name="connsiteY5" fmla="*/ 549082 h 555948"/>
                <a:gd name="connsiteX6" fmla="*/ 919427 w 926293"/>
                <a:gd name="connsiteY6" fmla="*/ 555948 h 555948"/>
                <a:gd name="connsiteX7" fmla="*/ 463147 w 926293"/>
                <a:gd name="connsiteY7" fmla="*/ 555948 h 555948"/>
                <a:gd name="connsiteX8" fmla="*/ 6866 w 926293"/>
                <a:gd name="connsiteY8" fmla="*/ 555948 h 555948"/>
                <a:gd name="connsiteX9" fmla="*/ 0 w 926293"/>
                <a:gd name="connsiteY9" fmla="*/ 549082 h 555948"/>
                <a:gd name="connsiteX10" fmla="*/ 0 w 926293"/>
                <a:gd name="connsiteY10" fmla="*/ 6866 h 55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6293" h="555948" fill="none" extrusionOk="0">
                  <a:moveTo>
                    <a:pt x="0" y="6866"/>
                  </a:moveTo>
                  <a:cubicBezTo>
                    <a:pt x="-30" y="3958"/>
                    <a:pt x="2921" y="-476"/>
                    <a:pt x="6866" y="0"/>
                  </a:cubicBezTo>
                  <a:cubicBezTo>
                    <a:pt x="191964" y="21782"/>
                    <a:pt x="249696" y="-2468"/>
                    <a:pt x="463147" y="0"/>
                  </a:cubicBezTo>
                  <a:cubicBezTo>
                    <a:pt x="676598" y="2468"/>
                    <a:pt x="791606" y="13234"/>
                    <a:pt x="919427" y="0"/>
                  </a:cubicBezTo>
                  <a:cubicBezTo>
                    <a:pt x="923030" y="-544"/>
                    <a:pt x="926198" y="2993"/>
                    <a:pt x="926293" y="6866"/>
                  </a:cubicBezTo>
                  <a:cubicBezTo>
                    <a:pt x="953109" y="237565"/>
                    <a:pt x="900117" y="374835"/>
                    <a:pt x="926293" y="549082"/>
                  </a:cubicBezTo>
                  <a:cubicBezTo>
                    <a:pt x="925616" y="553142"/>
                    <a:pt x="923370" y="556001"/>
                    <a:pt x="919427" y="555948"/>
                  </a:cubicBezTo>
                  <a:cubicBezTo>
                    <a:pt x="746083" y="565383"/>
                    <a:pt x="657548" y="534151"/>
                    <a:pt x="463147" y="555948"/>
                  </a:cubicBezTo>
                  <a:cubicBezTo>
                    <a:pt x="268746" y="577745"/>
                    <a:pt x="131909" y="546671"/>
                    <a:pt x="6866" y="555948"/>
                  </a:cubicBezTo>
                  <a:cubicBezTo>
                    <a:pt x="3639" y="555867"/>
                    <a:pt x="-143" y="553017"/>
                    <a:pt x="0" y="549082"/>
                  </a:cubicBezTo>
                  <a:cubicBezTo>
                    <a:pt x="-673" y="349520"/>
                    <a:pt x="26484" y="121425"/>
                    <a:pt x="0" y="6866"/>
                  </a:cubicBezTo>
                  <a:close/>
                </a:path>
                <a:path w="926293" h="555948" stroke="0" extrusionOk="0">
                  <a:moveTo>
                    <a:pt x="0" y="6866"/>
                  </a:moveTo>
                  <a:cubicBezTo>
                    <a:pt x="-22" y="2747"/>
                    <a:pt x="3253" y="-546"/>
                    <a:pt x="6866" y="0"/>
                  </a:cubicBezTo>
                  <a:cubicBezTo>
                    <a:pt x="142052" y="-7444"/>
                    <a:pt x="274827" y="14461"/>
                    <a:pt x="444895" y="0"/>
                  </a:cubicBezTo>
                  <a:cubicBezTo>
                    <a:pt x="614963" y="-14461"/>
                    <a:pt x="688792" y="-10209"/>
                    <a:pt x="919427" y="0"/>
                  </a:cubicBezTo>
                  <a:cubicBezTo>
                    <a:pt x="923341" y="224"/>
                    <a:pt x="926288" y="3813"/>
                    <a:pt x="926293" y="6866"/>
                  </a:cubicBezTo>
                  <a:cubicBezTo>
                    <a:pt x="916543" y="188338"/>
                    <a:pt x="942619" y="391448"/>
                    <a:pt x="926293" y="549082"/>
                  </a:cubicBezTo>
                  <a:cubicBezTo>
                    <a:pt x="925830" y="552079"/>
                    <a:pt x="923456" y="555697"/>
                    <a:pt x="919427" y="555948"/>
                  </a:cubicBezTo>
                  <a:cubicBezTo>
                    <a:pt x="734782" y="542145"/>
                    <a:pt x="649506" y="568689"/>
                    <a:pt x="481398" y="555948"/>
                  </a:cubicBezTo>
                  <a:cubicBezTo>
                    <a:pt x="313290" y="543207"/>
                    <a:pt x="192922" y="536094"/>
                    <a:pt x="6866" y="555948"/>
                  </a:cubicBezTo>
                  <a:cubicBezTo>
                    <a:pt x="3652" y="556077"/>
                    <a:pt x="-614" y="553399"/>
                    <a:pt x="0" y="549082"/>
                  </a:cubicBezTo>
                  <a:cubicBezTo>
                    <a:pt x="14576" y="326573"/>
                    <a:pt x="23897" y="206876"/>
                    <a:pt x="0" y="68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9" name="Picture Placeholder Graphic">
              <a:extLst>
                <a:ext uri="{FF2B5EF4-FFF2-40B4-BE49-F238E27FC236}">
                  <a16:creationId xmlns:a16="http://schemas.microsoft.com/office/drawing/2014/main" id="{CD319BAF-92D7-4646-A51A-94E14DB3CE76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10" name="Triangle 2">
                <a:extLst>
                  <a:ext uri="{FF2B5EF4-FFF2-40B4-BE49-F238E27FC236}">
                    <a16:creationId xmlns:a16="http://schemas.microsoft.com/office/drawing/2014/main" id="{03F3E302-AA22-45FC-A7C4-079C1327C337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Triangle 1">
                <a:extLst>
                  <a:ext uri="{FF2B5EF4-FFF2-40B4-BE49-F238E27FC236}">
                    <a16:creationId xmlns:a16="http://schemas.microsoft.com/office/drawing/2014/main" id="{B6009838-9809-4BC0-8FA5-1636660839DD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id="{31F95C04-88E7-4F29-97F1-0C78C562C8B2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19" name="Filled Picture Placeholder 3" descr="Picture placeholder 3">
            <a:extLst>
              <a:ext uri="{FF2B5EF4-FFF2-40B4-BE49-F238E27FC236}">
                <a16:creationId xmlns:a16="http://schemas.microsoft.com/office/drawing/2014/main" id="{8CE86026-F49F-437B-BE2C-3807B149C7CD}"/>
              </a:ext>
            </a:extLst>
          </p:cNvPr>
          <p:cNvGrpSpPr/>
          <p:nvPr/>
        </p:nvGrpSpPr>
        <p:grpSpPr>
          <a:xfrm>
            <a:off x="4434335" y="2802355"/>
            <a:ext cx="1966963" cy="1342291"/>
            <a:chOff x="7281490" y="8160201"/>
            <a:chExt cx="926293" cy="555948"/>
          </a:xfrm>
        </p:grpSpPr>
        <p:sp>
          <p:nvSpPr>
            <p:cNvPr id="139" name="Picture Placeholder">
              <a:extLst>
                <a:ext uri="{FF2B5EF4-FFF2-40B4-BE49-F238E27FC236}">
                  <a16:creationId xmlns:a16="http://schemas.microsoft.com/office/drawing/2014/main" id="{42E39450-AC6B-4FB4-B865-4F69F959F6DE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926293"/>
                <a:gd name="connsiteY0" fmla="*/ 6866 h 555948"/>
                <a:gd name="connsiteX1" fmla="*/ 6866 w 926293"/>
                <a:gd name="connsiteY1" fmla="*/ 0 h 555948"/>
                <a:gd name="connsiteX2" fmla="*/ 463147 w 926293"/>
                <a:gd name="connsiteY2" fmla="*/ 0 h 555948"/>
                <a:gd name="connsiteX3" fmla="*/ 919427 w 926293"/>
                <a:gd name="connsiteY3" fmla="*/ 0 h 555948"/>
                <a:gd name="connsiteX4" fmla="*/ 926293 w 926293"/>
                <a:gd name="connsiteY4" fmla="*/ 6866 h 555948"/>
                <a:gd name="connsiteX5" fmla="*/ 926293 w 926293"/>
                <a:gd name="connsiteY5" fmla="*/ 549082 h 555948"/>
                <a:gd name="connsiteX6" fmla="*/ 919427 w 926293"/>
                <a:gd name="connsiteY6" fmla="*/ 555948 h 555948"/>
                <a:gd name="connsiteX7" fmla="*/ 463147 w 926293"/>
                <a:gd name="connsiteY7" fmla="*/ 555948 h 555948"/>
                <a:gd name="connsiteX8" fmla="*/ 6866 w 926293"/>
                <a:gd name="connsiteY8" fmla="*/ 555948 h 555948"/>
                <a:gd name="connsiteX9" fmla="*/ 0 w 926293"/>
                <a:gd name="connsiteY9" fmla="*/ 549082 h 555948"/>
                <a:gd name="connsiteX10" fmla="*/ 0 w 926293"/>
                <a:gd name="connsiteY10" fmla="*/ 6866 h 55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6293" h="555948" fill="none" extrusionOk="0">
                  <a:moveTo>
                    <a:pt x="0" y="6866"/>
                  </a:moveTo>
                  <a:cubicBezTo>
                    <a:pt x="-30" y="3958"/>
                    <a:pt x="2921" y="-476"/>
                    <a:pt x="6866" y="0"/>
                  </a:cubicBezTo>
                  <a:cubicBezTo>
                    <a:pt x="191964" y="21782"/>
                    <a:pt x="249696" y="-2468"/>
                    <a:pt x="463147" y="0"/>
                  </a:cubicBezTo>
                  <a:cubicBezTo>
                    <a:pt x="676598" y="2468"/>
                    <a:pt x="791606" y="13234"/>
                    <a:pt x="919427" y="0"/>
                  </a:cubicBezTo>
                  <a:cubicBezTo>
                    <a:pt x="923030" y="-544"/>
                    <a:pt x="926198" y="2993"/>
                    <a:pt x="926293" y="6866"/>
                  </a:cubicBezTo>
                  <a:cubicBezTo>
                    <a:pt x="953109" y="237565"/>
                    <a:pt x="900117" y="374835"/>
                    <a:pt x="926293" y="549082"/>
                  </a:cubicBezTo>
                  <a:cubicBezTo>
                    <a:pt x="925616" y="553142"/>
                    <a:pt x="923370" y="556001"/>
                    <a:pt x="919427" y="555948"/>
                  </a:cubicBezTo>
                  <a:cubicBezTo>
                    <a:pt x="746083" y="565383"/>
                    <a:pt x="657548" y="534151"/>
                    <a:pt x="463147" y="555948"/>
                  </a:cubicBezTo>
                  <a:cubicBezTo>
                    <a:pt x="268746" y="577745"/>
                    <a:pt x="131909" y="546671"/>
                    <a:pt x="6866" y="555948"/>
                  </a:cubicBezTo>
                  <a:cubicBezTo>
                    <a:pt x="3639" y="555867"/>
                    <a:pt x="-143" y="553017"/>
                    <a:pt x="0" y="549082"/>
                  </a:cubicBezTo>
                  <a:cubicBezTo>
                    <a:pt x="-673" y="349520"/>
                    <a:pt x="26484" y="121425"/>
                    <a:pt x="0" y="6866"/>
                  </a:cubicBezTo>
                  <a:close/>
                </a:path>
                <a:path w="926293" h="555948" stroke="0" extrusionOk="0">
                  <a:moveTo>
                    <a:pt x="0" y="6866"/>
                  </a:moveTo>
                  <a:cubicBezTo>
                    <a:pt x="-22" y="2747"/>
                    <a:pt x="3253" y="-546"/>
                    <a:pt x="6866" y="0"/>
                  </a:cubicBezTo>
                  <a:cubicBezTo>
                    <a:pt x="142052" y="-7444"/>
                    <a:pt x="274827" y="14461"/>
                    <a:pt x="444895" y="0"/>
                  </a:cubicBezTo>
                  <a:cubicBezTo>
                    <a:pt x="614963" y="-14461"/>
                    <a:pt x="688792" y="-10209"/>
                    <a:pt x="919427" y="0"/>
                  </a:cubicBezTo>
                  <a:cubicBezTo>
                    <a:pt x="923341" y="224"/>
                    <a:pt x="926288" y="3813"/>
                    <a:pt x="926293" y="6866"/>
                  </a:cubicBezTo>
                  <a:cubicBezTo>
                    <a:pt x="916543" y="188338"/>
                    <a:pt x="942619" y="391448"/>
                    <a:pt x="926293" y="549082"/>
                  </a:cubicBezTo>
                  <a:cubicBezTo>
                    <a:pt x="925830" y="552079"/>
                    <a:pt x="923456" y="555697"/>
                    <a:pt x="919427" y="555948"/>
                  </a:cubicBezTo>
                  <a:cubicBezTo>
                    <a:pt x="734782" y="542145"/>
                    <a:pt x="649506" y="568689"/>
                    <a:pt x="481398" y="555948"/>
                  </a:cubicBezTo>
                  <a:cubicBezTo>
                    <a:pt x="313290" y="543207"/>
                    <a:pt x="192922" y="536094"/>
                    <a:pt x="6866" y="555948"/>
                  </a:cubicBezTo>
                  <a:cubicBezTo>
                    <a:pt x="3652" y="556077"/>
                    <a:pt x="-614" y="553399"/>
                    <a:pt x="0" y="549082"/>
                  </a:cubicBezTo>
                  <a:cubicBezTo>
                    <a:pt x="14576" y="326573"/>
                    <a:pt x="23897" y="206876"/>
                    <a:pt x="0" y="68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0" name="Picture Placeholder Graphic">
              <a:extLst>
                <a:ext uri="{FF2B5EF4-FFF2-40B4-BE49-F238E27FC236}">
                  <a16:creationId xmlns:a16="http://schemas.microsoft.com/office/drawing/2014/main" id="{B82475E9-5DC8-442F-8CEA-62630A0E799F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41" name="Triangle 2">
                <a:extLst>
                  <a:ext uri="{FF2B5EF4-FFF2-40B4-BE49-F238E27FC236}">
                    <a16:creationId xmlns:a16="http://schemas.microsoft.com/office/drawing/2014/main" id="{7ABBD5E4-173B-4248-86E1-38B3959627B8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Triangle 1">
                <a:extLst>
                  <a:ext uri="{FF2B5EF4-FFF2-40B4-BE49-F238E27FC236}">
                    <a16:creationId xmlns:a16="http://schemas.microsoft.com/office/drawing/2014/main" id="{B09F8226-47F4-4970-9028-B3417DB14BA9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Circle">
                <a:extLst>
                  <a:ext uri="{FF2B5EF4-FFF2-40B4-BE49-F238E27FC236}">
                    <a16:creationId xmlns:a16="http://schemas.microsoft.com/office/drawing/2014/main" id="{452E43C5-DF42-4A47-8543-8C0E020DB311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44" name="Filled Picture Placeholder 3" descr="Picture placeholder 3">
            <a:extLst>
              <a:ext uri="{FF2B5EF4-FFF2-40B4-BE49-F238E27FC236}">
                <a16:creationId xmlns:a16="http://schemas.microsoft.com/office/drawing/2014/main" id="{72646FC8-2F6F-450E-A2BB-C44C4CDBE6B2}"/>
              </a:ext>
            </a:extLst>
          </p:cNvPr>
          <p:cNvGrpSpPr/>
          <p:nvPr/>
        </p:nvGrpSpPr>
        <p:grpSpPr>
          <a:xfrm>
            <a:off x="3368041" y="4280253"/>
            <a:ext cx="3013134" cy="1342291"/>
            <a:chOff x="7281490" y="8160201"/>
            <a:chExt cx="926293" cy="555948"/>
          </a:xfrm>
        </p:grpSpPr>
        <p:sp>
          <p:nvSpPr>
            <p:cNvPr id="145" name="Picture Placeholder">
              <a:extLst>
                <a:ext uri="{FF2B5EF4-FFF2-40B4-BE49-F238E27FC236}">
                  <a16:creationId xmlns:a16="http://schemas.microsoft.com/office/drawing/2014/main" id="{CBCCE92F-5F9C-47AA-820B-43B1796B63FA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926293"/>
                <a:gd name="connsiteY0" fmla="*/ 6866 h 555948"/>
                <a:gd name="connsiteX1" fmla="*/ 6866 w 926293"/>
                <a:gd name="connsiteY1" fmla="*/ 0 h 555948"/>
                <a:gd name="connsiteX2" fmla="*/ 463147 w 926293"/>
                <a:gd name="connsiteY2" fmla="*/ 0 h 555948"/>
                <a:gd name="connsiteX3" fmla="*/ 919427 w 926293"/>
                <a:gd name="connsiteY3" fmla="*/ 0 h 555948"/>
                <a:gd name="connsiteX4" fmla="*/ 926293 w 926293"/>
                <a:gd name="connsiteY4" fmla="*/ 6866 h 555948"/>
                <a:gd name="connsiteX5" fmla="*/ 926293 w 926293"/>
                <a:gd name="connsiteY5" fmla="*/ 549082 h 555948"/>
                <a:gd name="connsiteX6" fmla="*/ 919427 w 926293"/>
                <a:gd name="connsiteY6" fmla="*/ 555948 h 555948"/>
                <a:gd name="connsiteX7" fmla="*/ 463147 w 926293"/>
                <a:gd name="connsiteY7" fmla="*/ 555948 h 555948"/>
                <a:gd name="connsiteX8" fmla="*/ 6866 w 926293"/>
                <a:gd name="connsiteY8" fmla="*/ 555948 h 555948"/>
                <a:gd name="connsiteX9" fmla="*/ 0 w 926293"/>
                <a:gd name="connsiteY9" fmla="*/ 549082 h 555948"/>
                <a:gd name="connsiteX10" fmla="*/ 0 w 926293"/>
                <a:gd name="connsiteY10" fmla="*/ 6866 h 55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6293" h="555948" fill="none" extrusionOk="0">
                  <a:moveTo>
                    <a:pt x="0" y="6866"/>
                  </a:moveTo>
                  <a:cubicBezTo>
                    <a:pt x="-30" y="3958"/>
                    <a:pt x="2921" y="-476"/>
                    <a:pt x="6866" y="0"/>
                  </a:cubicBezTo>
                  <a:cubicBezTo>
                    <a:pt x="191964" y="21782"/>
                    <a:pt x="249696" y="-2468"/>
                    <a:pt x="463147" y="0"/>
                  </a:cubicBezTo>
                  <a:cubicBezTo>
                    <a:pt x="676598" y="2468"/>
                    <a:pt x="791606" y="13234"/>
                    <a:pt x="919427" y="0"/>
                  </a:cubicBezTo>
                  <a:cubicBezTo>
                    <a:pt x="923030" y="-544"/>
                    <a:pt x="926198" y="2993"/>
                    <a:pt x="926293" y="6866"/>
                  </a:cubicBezTo>
                  <a:cubicBezTo>
                    <a:pt x="953109" y="237565"/>
                    <a:pt x="900117" y="374835"/>
                    <a:pt x="926293" y="549082"/>
                  </a:cubicBezTo>
                  <a:cubicBezTo>
                    <a:pt x="925616" y="553142"/>
                    <a:pt x="923370" y="556001"/>
                    <a:pt x="919427" y="555948"/>
                  </a:cubicBezTo>
                  <a:cubicBezTo>
                    <a:pt x="746083" y="565383"/>
                    <a:pt x="657548" y="534151"/>
                    <a:pt x="463147" y="555948"/>
                  </a:cubicBezTo>
                  <a:cubicBezTo>
                    <a:pt x="268746" y="577745"/>
                    <a:pt x="131909" y="546671"/>
                    <a:pt x="6866" y="555948"/>
                  </a:cubicBezTo>
                  <a:cubicBezTo>
                    <a:pt x="3639" y="555867"/>
                    <a:pt x="-143" y="553017"/>
                    <a:pt x="0" y="549082"/>
                  </a:cubicBezTo>
                  <a:cubicBezTo>
                    <a:pt x="-673" y="349520"/>
                    <a:pt x="26484" y="121425"/>
                    <a:pt x="0" y="6866"/>
                  </a:cubicBezTo>
                  <a:close/>
                </a:path>
                <a:path w="926293" h="555948" stroke="0" extrusionOk="0">
                  <a:moveTo>
                    <a:pt x="0" y="6866"/>
                  </a:moveTo>
                  <a:cubicBezTo>
                    <a:pt x="-22" y="2747"/>
                    <a:pt x="3253" y="-546"/>
                    <a:pt x="6866" y="0"/>
                  </a:cubicBezTo>
                  <a:cubicBezTo>
                    <a:pt x="142052" y="-7444"/>
                    <a:pt x="274827" y="14461"/>
                    <a:pt x="444895" y="0"/>
                  </a:cubicBezTo>
                  <a:cubicBezTo>
                    <a:pt x="614963" y="-14461"/>
                    <a:pt x="688792" y="-10209"/>
                    <a:pt x="919427" y="0"/>
                  </a:cubicBezTo>
                  <a:cubicBezTo>
                    <a:pt x="923341" y="224"/>
                    <a:pt x="926288" y="3813"/>
                    <a:pt x="926293" y="6866"/>
                  </a:cubicBezTo>
                  <a:cubicBezTo>
                    <a:pt x="916543" y="188338"/>
                    <a:pt x="942619" y="391448"/>
                    <a:pt x="926293" y="549082"/>
                  </a:cubicBezTo>
                  <a:cubicBezTo>
                    <a:pt x="925830" y="552079"/>
                    <a:pt x="923456" y="555697"/>
                    <a:pt x="919427" y="555948"/>
                  </a:cubicBezTo>
                  <a:cubicBezTo>
                    <a:pt x="734782" y="542145"/>
                    <a:pt x="649506" y="568689"/>
                    <a:pt x="481398" y="555948"/>
                  </a:cubicBezTo>
                  <a:cubicBezTo>
                    <a:pt x="313290" y="543207"/>
                    <a:pt x="192922" y="536094"/>
                    <a:pt x="6866" y="555948"/>
                  </a:cubicBezTo>
                  <a:cubicBezTo>
                    <a:pt x="3652" y="556077"/>
                    <a:pt x="-614" y="553399"/>
                    <a:pt x="0" y="549082"/>
                  </a:cubicBezTo>
                  <a:cubicBezTo>
                    <a:pt x="14576" y="326573"/>
                    <a:pt x="23897" y="206876"/>
                    <a:pt x="0" y="68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6" name="Picture Placeholder Graphic">
              <a:extLst>
                <a:ext uri="{FF2B5EF4-FFF2-40B4-BE49-F238E27FC236}">
                  <a16:creationId xmlns:a16="http://schemas.microsoft.com/office/drawing/2014/main" id="{9903B63B-CC2B-4439-9802-58D0166809B0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47" name="Triangle 2">
                <a:extLst>
                  <a:ext uri="{FF2B5EF4-FFF2-40B4-BE49-F238E27FC236}">
                    <a16:creationId xmlns:a16="http://schemas.microsoft.com/office/drawing/2014/main" id="{7F9F34A1-6270-4D2A-A3CE-7B5FE41ABB59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Triangle 1">
                <a:extLst>
                  <a:ext uri="{FF2B5EF4-FFF2-40B4-BE49-F238E27FC236}">
                    <a16:creationId xmlns:a16="http://schemas.microsoft.com/office/drawing/2014/main" id="{0124A715-E9D4-433C-B5C5-22E059D5E2F2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Circle">
                <a:extLst>
                  <a:ext uri="{FF2B5EF4-FFF2-40B4-BE49-F238E27FC236}">
                    <a16:creationId xmlns:a16="http://schemas.microsoft.com/office/drawing/2014/main" id="{7715F3F9-7D60-4D89-B2E7-941521452EBE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50" name="Placeholder Text 1">
            <a:extLst>
              <a:ext uri="{FF2B5EF4-FFF2-40B4-BE49-F238E27FC236}">
                <a16:creationId xmlns:a16="http://schemas.microsoft.com/office/drawing/2014/main" id="{A2D9CF32-CEAD-4D2E-B6CC-A47FE5E2AF48}"/>
              </a:ext>
            </a:extLst>
          </p:cNvPr>
          <p:cNvSpPr txBox="1"/>
          <p:nvPr/>
        </p:nvSpPr>
        <p:spPr>
          <a:xfrm>
            <a:off x="3320706" y="2369351"/>
            <a:ext cx="1005717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r Chart: Top 10 based on filter on country</a:t>
            </a:r>
          </a:p>
        </p:txBody>
      </p:sp>
      <p:sp>
        <p:nvSpPr>
          <p:cNvPr id="151" name="Placeholder Text 1">
            <a:extLst>
              <a:ext uri="{FF2B5EF4-FFF2-40B4-BE49-F238E27FC236}">
                <a16:creationId xmlns:a16="http://schemas.microsoft.com/office/drawing/2014/main" id="{11B8A254-C971-45D2-AE47-06292B1A0537}"/>
              </a:ext>
            </a:extLst>
          </p:cNvPr>
          <p:cNvSpPr txBox="1"/>
          <p:nvPr/>
        </p:nvSpPr>
        <p:spPr>
          <a:xfrm>
            <a:off x="4411296" y="2329783"/>
            <a:ext cx="2013040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aflet: Display markers for each of the distilleries shown in the data source. Markers could perhaps be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loure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by rating?</a:t>
            </a:r>
          </a:p>
        </p:txBody>
      </p:sp>
      <p:sp>
        <p:nvSpPr>
          <p:cNvPr id="152" name="Placeholder Text 1">
            <a:extLst>
              <a:ext uri="{FF2B5EF4-FFF2-40B4-BE49-F238E27FC236}">
                <a16:creationId xmlns:a16="http://schemas.microsoft.com/office/drawing/2014/main" id="{A71EEEAC-74EC-4604-9523-227599BCDD53}"/>
              </a:ext>
            </a:extLst>
          </p:cNvPr>
          <p:cNvSpPr txBox="1"/>
          <p:nvPr/>
        </p:nvSpPr>
        <p:spPr>
          <a:xfrm>
            <a:off x="3877857" y="5611414"/>
            <a:ext cx="154332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3 Scatterplot which has Ratings on vertical by</a:t>
            </a:r>
          </a:p>
        </p:txBody>
      </p:sp>
      <p:grpSp>
        <p:nvGrpSpPr>
          <p:cNvPr id="153" name="Option Close" descr="Option box with a close icon">
            <a:extLst>
              <a:ext uri="{FF2B5EF4-FFF2-40B4-BE49-F238E27FC236}">
                <a16:creationId xmlns:a16="http://schemas.microsoft.com/office/drawing/2014/main" id="{024C3172-9837-4197-8885-456AA092007D}"/>
              </a:ext>
            </a:extLst>
          </p:cNvPr>
          <p:cNvGrpSpPr/>
          <p:nvPr/>
        </p:nvGrpSpPr>
        <p:grpSpPr>
          <a:xfrm>
            <a:off x="1797383" y="2479469"/>
            <a:ext cx="1094430" cy="228839"/>
            <a:chOff x="529872" y="1378095"/>
            <a:chExt cx="1094430" cy="228839"/>
          </a:xfrm>
        </p:grpSpPr>
        <p:sp>
          <p:nvSpPr>
            <p:cNvPr id="154" name="Option Background">
              <a:extLst>
                <a:ext uri="{FF2B5EF4-FFF2-40B4-BE49-F238E27FC236}">
                  <a16:creationId xmlns:a16="http://schemas.microsoft.com/office/drawing/2014/main" id="{929E354A-C1DC-4485-AAF1-41ACABA8AB93}"/>
                </a:ext>
              </a:extLst>
            </p:cNvPr>
            <p:cNvSpPr/>
            <p:nvPr/>
          </p:nvSpPr>
          <p:spPr>
            <a:xfrm>
              <a:off x="536909" y="1378535"/>
              <a:ext cx="1087393" cy="222624"/>
            </a:xfrm>
            <a:custGeom>
              <a:avLst/>
              <a:gdLst>
                <a:gd name="connsiteX0" fmla="*/ 0 w 1087393"/>
                <a:gd name="connsiteY0" fmla="*/ 12104 h 222624"/>
                <a:gd name="connsiteX1" fmla="*/ 12104 w 1087393"/>
                <a:gd name="connsiteY1" fmla="*/ 0 h 222624"/>
                <a:gd name="connsiteX2" fmla="*/ 522433 w 1087393"/>
                <a:gd name="connsiteY2" fmla="*/ 0 h 222624"/>
                <a:gd name="connsiteX3" fmla="*/ 1075289 w 1087393"/>
                <a:gd name="connsiteY3" fmla="*/ 0 h 222624"/>
                <a:gd name="connsiteX4" fmla="*/ 1087393 w 1087393"/>
                <a:gd name="connsiteY4" fmla="*/ 12104 h 222624"/>
                <a:gd name="connsiteX5" fmla="*/ 1087393 w 1087393"/>
                <a:gd name="connsiteY5" fmla="*/ 210520 h 222624"/>
                <a:gd name="connsiteX6" fmla="*/ 1075289 w 1087393"/>
                <a:gd name="connsiteY6" fmla="*/ 222624 h 222624"/>
                <a:gd name="connsiteX7" fmla="*/ 522433 w 1087393"/>
                <a:gd name="connsiteY7" fmla="*/ 222624 h 222624"/>
                <a:gd name="connsiteX8" fmla="*/ 12104 w 1087393"/>
                <a:gd name="connsiteY8" fmla="*/ 222624 h 222624"/>
                <a:gd name="connsiteX9" fmla="*/ 0 w 1087393"/>
                <a:gd name="connsiteY9" fmla="*/ 210520 h 222624"/>
                <a:gd name="connsiteX10" fmla="*/ 0 w 1087393"/>
                <a:gd name="connsiteY10" fmla="*/ 12104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7393" h="222624" fill="none" extrusionOk="0">
                  <a:moveTo>
                    <a:pt x="0" y="12104"/>
                  </a:moveTo>
                  <a:cubicBezTo>
                    <a:pt x="73" y="4343"/>
                    <a:pt x="4769" y="1143"/>
                    <a:pt x="12104" y="0"/>
                  </a:cubicBezTo>
                  <a:cubicBezTo>
                    <a:pt x="216195" y="13818"/>
                    <a:pt x="391417" y="-6170"/>
                    <a:pt x="522433" y="0"/>
                  </a:cubicBezTo>
                  <a:cubicBezTo>
                    <a:pt x="653449" y="6170"/>
                    <a:pt x="881165" y="14543"/>
                    <a:pt x="1075289" y="0"/>
                  </a:cubicBezTo>
                  <a:cubicBezTo>
                    <a:pt x="1081241" y="195"/>
                    <a:pt x="1087449" y="4800"/>
                    <a:pt x="1087393" y="12104"/>
                  </a:cubicBezTo>
                  <a:cubicBezTo>
                    <a:pt x="1096347" y="82348"/>
                    <a:pt x="1081660" y="165030"/>
                    <a:pt x="1087393" y="210520"/>
                  </a:cubicBezTo>
                  <a:cubicBezTo>
                    <a:pt x="1087134" y="217838"/>
                    <a:pt x="1082823" y="224054"/>
                    <a:pt x="1075289" y="222624"/>
                  </a:cubicBezTo>
                  <a:cubicBezTo>
                    <a:pt x="922148" y="224139"/>
                    <a:pt x="790594" y="235717"/>
                    <a:pt x="522433" y="222624"/>
                  </a:cubicBezTo>
                  <a:cubicBezTo>
                    <a:pt x="254272" y="209531"/>
                    <a:pt x="241766" y="231797"/>
                    <a:pt x="12104" y="222624"/>
                  </a:cubicBezTo>
                  <a:cubicBezTo>
                    <a:pt x="5431" y="223773"/>
                    <a:pt x="306" y="217114"/>
                    <a:pt x="0" y="210520"/>
                  </a:cubicBezTo>
                  <a:cubicBezTo>
                    <a:pt x="-2321" y="169088"/>
                    <a:pt x="-4102" y="66655"/>
                    <a:pt x="0" y="12104"/>
                  </a:cubicBezTo>
                  <a:close/>
                </a:path>
                <a:path w="1087393" h="222624" stroke="0" extrusionOk="0">
                  <a:moveTo>
                    <a:pt x="0" y="12104"/>
                  </a:moveTo>
                  <a:cubicBezTo>
                    <a:pt x="729" y="4040"/>
                    <a:pt x="5178" y="465"/>
                    <a:pt x="12104" y="0"/>
                  </a:cubicBezTo>
                  <a:cubicBezTo>
                    <a:pt x="167059" y="24283"/>
                    <a:pt x="366151" y="-23910"/>
                    <a:pt x="554328" y="0"/>
                  </a:cubicBezTo>
                  <a:cubicBezTo>
                    <a:pt x="742505" y="23910"/>
                    <a:pt x="866710" y="-13824"/>
                    <a:pt x="1075289" y="0"/>
                  </a:cubicBezTo>
                  <a:cubicBezTo>
                    <a:pt x="1082749" y="-217"/>
                    <a:pt x="1087555" y="5545"/>
                    <a:pt x="1087393" y="12104"/>
                  </a:cubicBezTo>
                  <a:cubicBezTo>
                    <a:pt x="1080840" y="104507"/>
                    <a:pt x="1091959" y="134145"/>
                    <a:pt x="1087393" y="210520"/>
                  </a:cubicBezTo>
                  <a:cubicBezTo>
                    <a:pt x="1086465" y="217076"/>
                    <a:pt x="1080560" y="223475"/>
                    <a:pt x="1075289" y="222624"/>
                  </a:cubicBezTo>
                  <a:cubicBezTo>
                    <a:pt x="950720" y="223996"/>
                    <a:pt x="636273" y="209660"/>
                    <a:pt x="522433" y="222624"/>
                  </a:cubicBezTo>
                  <a:cubicBezTo>
                    <a:pt x="408593" y="235588"/>
                    <a:pt x="237710" y="207169"/>
                    <a:pt x="12104" y="222624"/>
                  </a:cubicBezTo>
                  <a:cubicBezTo>
                    <a:pt x="5246" y="223318"/>
                    <a:pt x="-797" y="217125"/>
                    <a:pt x="0" y="210520"/>
                  </a:cubicBezTo>
                  <a:cubicBezTo>
                    <a:pt x="-1681" y="158399"/>
                    <a:pt x="-2691" y="54090"/>
                    <a:pt x="0" y="12104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543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Close Icon Background">
              <a:extLst>
                <a:ext uri="{FF2B5EF4-FFF2-40B4-BE49-F238E27FC236}">
                  <a16:creationId xmlns:a16="http://schemas.microsoft.com/office/drawing/2014/main" id="{5A36A70F-46AE-4F6A-8021-B1D75DC35E81}"/>
                </a:ext>
              </a:extLst>
            </p:cNvPr>
            <p:cNvSpPr/>
            <p:nvPr/>
          </p:nvSpPr>
          <p:spPr>
            <a:xfrm>
              <a:off x="1379414" y="1378095"/>
              <a:ext cx="243991" cy="223064"/>
            </a:xfrm>
            <a:custGeom>
              <a:avLst/>
              <a:gdLst>
                <a:gd name="connsiteX0" fmla="*/ 0 w 243991"/>
                <a:gd name="connsiteY0" fmla="*/ 8352 h 223064"/>
                <a:gd name="connsiteX1" fmla="*/ 8352 w 243991"/>
                <a:gd name="connsiteY1" fmla="*/ 0 h 223064"/>
                <a:gd name="connsiteX2" fmla="*/ 235639 w 243991"/>
                <a:gd name="connsiteY2" fmla="*/ 0 h 223064"/>
                <a:gd name="connsiteX3" fmla="*/ 243991 w 243991"/>
                <a:gd name="connsiteY3" fmla="*/ 8352 h 223064"/>
                <a:gd name="connsiteX4" fmla="*/ 243991 w 243991"/>
                <a:gd name="connsiteY4" fmla="*/ 214712 h 223064"/>
                <a:gd name="connsiteX5" fmla="*/ 235639 w 243991"/>
                <a:gd name="connsiteY5" fmla="*/ 223064 h 223064"/>
                <a:gd name="connsiteX6" fmla="*/ 8352 w 243991"/>
                <a:gd name="connsiteY6" fmla="*/ 223064 h 223064"/>
                <a:gd name="connsiteX7" fmla="*/ 0 w 243991"/>
                <a:gd name="connsiteY7" fmla="*/ 214712 h 223064"/>
                <a:gd name="connsiteX8" fmla="*/ 0 w 243991"/>
                <a:gd name="connsiteY8" fmla="*/ 8352 h 223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991" h="223064" fill="none" extrusionOk="0">
                  <a:moveTo>
                    <a:pt x="0" y="8352"/>
                  </a:moveTo>
                  <a:cubicBezTo>
                    <a:pt x="-119" y="3713"/>
                    <a:pt x="3753" y="-133"/>
                    <a:pt x="8352" y="0"/>
                  </a:cubicBezTo>
                  <a:cubicBezTo>
                    <a:pt x="114209" y="7727"/>
                    <a:pt x="164552" y="5850"/>
                    <a:pt x="235639" y="0"/>
                  </a:cubicBezTo>
                  <a:cubicBezTo>
                    <a:pt x="240439" y="400"/>
                    <a:pt x="244193" y="4271"/>
                    <a:pt x="243991" y="8352"/>
                  </a:cubicBezTo>
                  <a:cubicBezTo>
                    <a:pt x="242289" y="64857"/>
                    <a:pt x="249221" y="149779"/>
                    <a:pt x="243991" y="214712"/>
                  </a:cubicBezTo>
                  <a:cubicBezTo>
                    <a:pt x="243800" y="219376"/>
                    <a:pt x="240354" y="221936"/>
                    <a:pt x="235639" y="223064"/>
                  </a:cubicBezTo>
                  <a:cubicBezTo>
                    <a:pt x="150326" y="230029"/>
                    <a:pt x="77530" y="214806"/>
                    <a:pt x="8352" y="223064"/>
                  </a:cubicBezTo>
                  <a:cubicBezTo>
                    <a:pt x="3531" y="223573"/>
                    <a:pt x="344" y="219905"/>
                    <a:pt x="0" y="214712"/>
                  </a:cubicBezTo>
                  <a:cubicBezTo>
                    <a:pt x="486" y="143646"/>
                    <a:pt x="-9444" y="109818"/>
                    <a:pt x="0" y="8352"/>
                  </a:cubicBezTo>
                  <a:close/>
                </a:path>
                <a:path w="243991" h="223064" stroke="0" extrusionOk="0">
                  <a:moveTo>
                    <a:pt x="0" y="8352"/>
                  </a:moveTo>
                  <a:cubicBezTo>
                    <a:pt x="440" y="2908"/>
                    <a:pt x="3248" y="948"/>
                    <a:pt x="8352" y="0"/>
                  </a:cubicBezTo>
                  <a:cubicBezTo>
                    <a:pt x="116721" y="-7726"/>
                    <a:pt x="174119" y="9236"/>
                    <a:pt x="235639" y="0"/>
                  </a:cubicBezTo>
                  <a:cubicBezTo>
                    <a:pt x="239751" y="-22"/>
                    <a:pt x="244041" y="3439"/>
                    <a:pt x="243991" y="8352"/>
                  </a:cubicBezTo>
                  <a:cubicBezTo>
                    <a:pt x="239462" y="100183"/>
                    <a:pt x="248483" y="140548"/>
                    <a:pt x="243991" y="214712"/>
                  </a:cubicBezTo>
                  <a:cubicBezTo>
                    <a:pt x="244248" y="219993"/>
                    <a:pt x="240135" y="222293"/>
                    <a:pt x="235639" y="223064"/>
                  </a:cubicBezTo>
                  <a:cubicBezTo>
                    <a:pt x="184265" y="215309"/>
                    <a:pt x="111937" y="225662"/>
                    <a:pt x="8352" y="223064"/>
                  </a:cubicBezTo>
                  <a:cubicBezTo>
                    <a:pt x="3736" y="222778"/>
                    <a:pt x="-6" y="219170"/>
                    <a:pt x="0" y="214712"/>
                  </a:cubicBezTo>
                  <a:cubicBezTo>
                    <a:pt x="3847" y="135141"/>
                    <a:pt x="-5346" y="68363"/>
                    <a:pt x="0" y="835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3744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Close Icon">
              <a:extLst>
                <a:ext uri="{FF2B5EF4-FFF2-40B4-BE49-F238E27FC236}">
                  <a16:creationId xmlns:a16="http://schemas.microsoft.com/office/drawing/2014/main" id="{CF9DACCA-5404-435C-B63A-21768F719FF9}"/>
                </a:ext>
              </a:extLst>
            </p:cNvPr>
            <p:cNvSpPr/>
            <p:nvPr/>
          </p:nvSpPr>
          <p:spPr>
            <a:xfrm rot="16200000">
              <a:off x="1433253" y="1417581"/>
              <a:ext cx="140484" cy="140484"/>
            </a:xfrm>
            <a:prstGeom prst="mathMultiply">
              <a:avLst>
                <a:gd name="adj1" fmla="val 13291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7" name="Text Placeholder">
              <a:extLst>
                <a:ext uri="{FF2B5EF4-FFF2-40B4-BE49-F238E27FC236}">
                  <a16:creationId xmlns:a16="http://schemas.microsoft.com/office/drawing/2014/main" id="{F8A476DC-4700-4E6C-8CA2-64550192F456}"/>
                </a:ext>
              </a:extLst>
            </p:cNvPr>
            <p:cNvSpPr txBox="1"/>
            <p:nvPr/>
          </p:nvSpPr>
          <p:spPr>
            <a:xfrm>
              <a:off x="529872" y="1391490"/>
              <a:ext cx="7701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Option 1</a:t>
              </a:r>
            </a:p>
          </p:txBody>
        </p:sp>
      </p:grpSp>
      <p:sp>
        <p:nvSpPr>
          <p:cNvPr id="158" name="Placeholder Text 1">
            <a:extLst>
              <a:ext uri="{FF2B5EF4-FFF2-40B4-BE49-F238E27FC236}">
                <a16:creationId xmlns:a16="http://schemas.microsoft.com/office/drawing/2014/main" id="{4F26B83B-8EBC-4A1E-9A00-6BA6D38E41B2}"/>
              </a:ext>
            </a:extLst>
          </p:cNvPr>
          <p:cNvSpPr txBox="1"/>
          <p:nvPr/>
        </p:nvSpPr>
        <p:spPr>
          <a:xfrm>
            <a:off x="1790891" y="2502900"/>
            <a:ext cx="100571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untry Filter</a:t>
            </a:r>
          </a:p>
        </p:txBody>
      </p:sp>
    </p:spTree>
    <p:extLst>
      <p:ext uri="{BB962C8B-B14F-4D97-AF65-F5344CB8AC3E}">
        <p14:creationId xmlns:p14="http://schemas.microsoft.com/office/powerpoint/2010/main" val="7452414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5" name="Long Item Container">
            <a:extLst>
              <a:ext uri="{FF2B5EF4-FFF2-40B4-BE49-F238E27FC236}">
                <a16:creationId xmlns:a16="http://schemas.microsoft.com/office/drawing/2014/main" id="{F6E1358D-85B8-42C9-8A99-189CE1B56DD8}"/>
              </a:ext>
            </a:extLst>
          </p:cNvPr>
          <p:cNvGrpSpPr/>
          <p:nvPr/>
        </p:nvGrpSpPr>
        <p:grpSpPr>
          <a:xfrm>
            <a:off x="8757758" y="5839427"/>
            <a:ext cx="2906024" cy="493776"/>
            <a:chOff x="7981284" y="8111343"/>
            <a:chExt cx="1573956" cy="281296"/>
          </a:xfrm>
        </p:grpSpPr>
        <p:sp>
          <p:nvSpPr>
            <p:cNvPr id="506" name="Item Container">
              <a:extLst>
                <a:ext uri="{FF2B5EF4-FFF2-40B4-BE49-F238E27FC236}">
                  <a16:creationId xmlns:a16="http://schemas.microsoft.com/office/drawing/2014/main" id="{AE723C55-40F3-46DF-914D-F842AFE87EE5}"/>
                </a:ext>
              </a:extLst>
            </p:cNvPr>
            <p:cNvSpPr/>
            <p:nvPr/>
          </p:nvSpPr>
          <p:spPr>
            <a:xfrm>
              <a:off x="7990294" y="8111343"/>
              <a:ext cx="1564946" cy="281296"/>
            </a:xfrm>
            <a:custGeom>
              <a:avLst/>
              <a:gdLst>
                <a:gd name="connsiteX0" fmla="*/ 0 w 1564946"/>
                <a:gd name="connsiteY0" fmla="*/ 8124 h 281296"/>
                <a:gd name="connsiteX1" fmla="*/ 8124 w 1564946"/>
                <a:gd name="connsiteY1" fmla="*/ 0 h 281296"/>
                <a:gd name="connsiteX2" fmla="*/ 477896 w 1564946"/>
                <a:gd name="connsiteY2" fmla="*/ 0 h 281296"/>
                <a:gd name="connsiteX3" fmla="*/ 1025102 w 1564946"/>
                <a:gd name="connsiteY3" fmla="*/ 0 h 281296"/>
                <a:gd name="connsiteX4" fmla="*/ 1556822 w 1564946"/>
                <a:gd name="connsiteY4" fmla="*/ 0 h 281296"/>
                <a:gd name="connsiteX5" fmla="*/ 1564946 w 1564946"/>
                <a:gd name="connsiteY5" fmla="*/ 8124 h 281296"/>
                <a:gd name="connsiteX6" fmla="*/ 1564946 w 1564946"/>
                <a:gd name="connsiteY6" fmla="*/ 273172 h 281296"/>
                <a:gd name="connsiteX7" fmla="*/ 1556822 w 1564946"/>
                <a:gd name="connsiteY7" fmla="*/ 281296 h 281296"/>
                <a:gd name="connsiteX8" fmla="*/ 1056076 w 1564946"/>
                <a:gd name="connsiteY8" fmla="*/ 281296 h 281296"/>
                <a:gd name="connsiteX9" fmla="*/ 570818 w 1564946"/>
                <a:gd name="connsiteY9" fmla="*/ 281296 h 281296"/>
                <a:gd name="connsiteX10" fmla="*/ 8124 w 1564946"/>
                <a:gd name="connsiteY10" fmla="*/ 281296 h 281296"/>
                <a:gd name="connsiteX11" fmla="*/ 0 w 1564946"/>
                <a:gd name="connsiteY11" fmla="*/ 273172 h 281296"/>
                <a:gd name="connsiteX12" fmla="*/ 0 w 1564946"/>
                <a:gd name="connsiteY12" fmla="*/ 8124 h 28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64946" h="281296" fill="none" extrusionOk="0">
                  <a:moveTo>
                    <a:pt x="0" y="8124"/>
                  </a:moveTo>
                  <a:cubicBezTo>
                    <a:pt x="-59" y="3006"/>
                    <a:pt x="4521" y="-91"/>
                    <a:pt x="8124" y="0"/>
                  </a:cubicBezTo>
                  <a:cubicBezTo>
                    <a:pt x="207074" y="-8213"/>
                    <a:pt x="338683" y="11718"/>
                    <a:pt x="477896" y="0"/>
                  </a:cubicBezTo>
                  <a:cubicBezTo>
                    <a:pt x="617109" y="-11718"/>
                    <a:pt x="834072" y="419"/>
                    <a:pt x="1025102" y="0"/>
                  </a:cubicBezTo>
                  <a:cubicBezTo>
                    <a:pt x="1216132" y="-419"/>
                    <a:pt x="1346789" y="17589"/>
                    <a:pt x="1556822" y="0"/>
                  </a:cubicBezTo>
                  <a:cubicBezTo>
                    <a:pt x="1561219" y="-1023"/>
                    <a:pt x="1564554" y="3993"/>
                    <a:pt x="1564946" y="8124"/>
                  </a:cubicBezTo>
                  <a:cubicBezTo>
                    <a:pt x="1556786" y="62642"/>
                    <a:pt x="1560046" y="207769"/>
                    <a:pt x="1564946" y="273172"/>
                  </a:cubicBezTo>
                  <a:cubicBezTo>
                    <a:pt x="1564324" y="277798"/>
                    <a:pt x="1561530" y="281729"/>
                    <a:pt x="1556822" y="281296"/>
                  </a:cubicBezTo>
                  <a:cubicBezTo>
                    <a:pt x="1362877" y="272209"/>
                    <a:pt x="1203101" y="297482"/>
                    <a:pt x="1056076" y="281296"/>
                  </a:cubicBezTo>
                  <a:cubicBezTo>
                    <a:pt x="909051" y="265110"/>
                    <a:pt x="680718" y="266791"/>
                    <a:pt x="570818" y="281296"/>
                  </a:cubicBezTo>
                  <a:cubicBezTo>
                    <a:pt x="460918" y="295801"/>
                    <a:pt x="230381" y="295723"/>
                    <a:pt x="8124" y="281296"/>
                  </a:cubicBezTo>
                  <a:cubicBezTo>
                    <a:pt x="3755" y="281008"/>
                    <a:pt x="826" y="277531"/>
                    <a:pt x="0" y="273172"/>
                  </a:cubicBezTo>
                  <a:cubicBezTo>
                    <a:pt x="3096" y="173247"/>
                    <a:pt x="4734" y="73953"/>
                    <a:pt x="0" y="8124"/>
                  </a:cubicBezTo>
                  <a:close/>
                </a:path>
                <a:path w="1564946" h="281296" stroke="0" extrusionOk="0">
                  <a:moveTo>
                    <a:pt x="0" y="8124"/>
                  </a:moveTo>
                  <a:cubicBezTo>
                    <a:pt x="612" y="4038"/>
                    <a:pt x="3697" y="674"/>
                    <a:pt x="8124" y="0"/>
                  </a:cubicBezTo>
                  <a:cubicBezTo>
                    <a:pt x="225417" y="15168"/>
                    <a:pt x="300570" y="-21632"/>
                    <a:pt x="477896" y="0"/>
                  </a:cubicBezTo>
                  <a:cubicBezTo>
                    <a:pt x="655222" y="21632"/>
                    <a:pt x="892530" y="14343"/>
                    <a:pt x="1009615" y="0"/>
                  </a:cubicBezTo>
                  <a:cubicBezTo>
                    <a:pt x="1126700" y="-14343"/>
                    <a:pt x="1398533" y="-12628"/>
                    <a:pt x="1556822" y="0"/>
                  </a:cubicBezTo>
                  <a:cubicBezTo>
                    <a:pt x="1561407" y="73"/>
                    <a:pt x="1564956" y="4285"/>
                    <a:pt x="1564946" y="8124"/>
                  </a:cubicBezTo>
                  <a:cubicBezTo>
                    <a:pt x="1565318" y="82828"/>
                    <a:pt x="1571597" y="145282"/>
                    <a:pt x="1564946" y="273172"/>
                  </a:cubicBezTo>
                  <a:cubicBezTo>
                    <a:pt x="1563995" y="277886"/>
                    <a:pt x="1561770" y="281374"/>
                    <a:pt x="1556822" y="281296"/>
                  </a:cubicBezTo>
                  <a:cubicBezTo>
                    <a:pt x="1395935" y="267740"/>
                    <a:pt x="1211019" y="278637"/>
                    <a:pt x="1040589" y="281296"/>
                  </a:cubicBezTo>
                  <a:cubicBezTo>
                    <a:pt x="870159" y="283955"/>
                    <a:pt x="732830" y="266972"/>
                    <a:pt x="570818" y="281296"/>
                  </a:cubicBezTo>
                  <a:cubicBezTo>
                    <a:pt x="408806" y="295620"/>
                    <a:pt x="138150" y="262135"/>
                    <a:pt x="8124" y="281296"/>
                  </a:cubicBezTo>
                  <a:cubicBezTo>
                    <a:pt x="4182" y="280680"/>
                    <a:pt x="1029" y="277355"/>
                    <a:pt x="0" y="273172"/>
                  </a:cubicBezTo>
                  <a:cubicBezTo>
                    <a:pt x="-12619" y="202183"/>
                    <a:pt x="-11609" y="138259"/>
                    <a:pt x="0" y="8124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3537159889">
                    <a:prstGeom prst="roundRect">
                      <a:avLst>
                        <a:gd name="adj" fmla="val 2888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7" name="Picture Placeholder Background">
              <a:extLst>
                <a:ext uri="{FF2B5EF4-FFF2-40B4-BE49-F238E27FC236}">
                  <a16:creationId xmlns:a16="http://schemas.microsoft.com/office/drawing/2014/main" id="{7EA08C0A-6F23-4875-B5D0-E094AE495BBF}"/>
                </a:ext>
              </a:extLst>
            </p:cNvPr>
            <p:cNvSpPr/>
            <p:nvPr/>
          </p:nvSpPr>
          <p:spPr>
            <a:xfrm>
              <a:off x="7981284" y="8111878"/>
              <a:ext cx="367217" cy="280760"/>
            </a:xfrm>
            <a:custGeom>
              <a:avLst/>
              <a:gdLst>
                <a:gd name="connsiteX0" fmla="*/ 0 w 367217"/>
                <a:gd name="connsiteY0" fmla="*/ 11677 h 280760"/>
                <a:gd name="connsiteX1" fmla="*/ 11677 w 367217"/>
                <a:gd name="connsiteY1" fmla="*/ 0 h 280760"/>
                <a:gd name="connsiteX2" fmla="*/ 355540 w 367217"/>
                <a:gd name="connsiteY2" fmla="*/ 0 h 280760"/>
                <a:gd name="connsiteX3" fmla="*/ 367217 w 367217"/>
                <a:gd name="connsiteY3" fmla="*/ 11677 h 280760"/>
                <a:gd name="connsiteX4" fmla="*/ 367217 w 367217"/>
                <a:gd name="connsiteY4" fmla="*/ 269083 h 280760"/>
                <a:gd name="connsiteX5" fmla="*/ 355540 w 367217"/>
                <a:gd name="connsiteY5" fmla="*/ 280760 h 280760"/>
                <a:gd name="connsiteX6" fmla="*/ 11677 w 367217"/>
                <a:gd name="connsiteY6" fmla="*/ 280760 h 280760"/>
                <a:gd name="connsiteX7" fmla="*/ 0 w 367217"/>
                <a:gd name="connsiteY7" fmla="*/ 269083 h 280760"/>
                <a:gd name="connsiteX8" fmla="*/ 0 w 367217"/>
                <a:gd name="connsiteY8" fmla="*/ 11677 h 280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7217" h="280760" fill="none" extrusionOk="0">
                  <a:moveTo>
                    <a:pt x="0" y="11677"/>
                  </a:moveTo>
                  <a:cubicBezTo>
                    <a:pt x="-504" y="4772"/>
                    <a:pt x="5182" y="-852"/>
                    <a:pt x="11677" y="0"/>
                  </a:cubicBezTo>
                  <a:cubicBezTo>
                    <a:pt x="104853" y="-21045"/>
                    <a:pt x="222203" y="28446"/>
                    <a:pt x="355540" y="0"/>
                  </a:cubicBezTo>
                  <a:cubicBezTo>
                    <a:pt x="361827" y="-28"/>
                    <a:pt x="368236" y="5801"/>
                    <a:pt x="367217" y="11677"/>
                  </a:cubicBezTo>
                  <a:cubicBezTo>
                    <a:pt x="344511" y="96728"/>
                    <a:pt x="388217" y="180027"/>
                    <a:pt x="367217" y="269083"/>
                  </a:cubicBezTo>
                  <a:cubicBezTo>
                    <a:pt x="366931" y="276254"/>
                    <a:pt x="362344" y="281133"/>
                    <a:pt x="355540" y="280760"/>
                  </a:cubicBezTo>
                  <a:cubicBezTo>
                    <a:pt x="195832" y="282557"/>
                    <a:pt x="88452" y="305607"/>
                    <a:pt x="11677" y="280760"/>
                  </a:cubicBezTo>
                  <a:cubicBezTo>
                    <a:pt x="6148" y="280932"/>
                    <a:pt x="-123" y="275339"/>
                    <a:pt x="0" y="269083"/>
                  </a:cubicBezTo>
                  <a:cubicBezTo>
                    <a:pt x="22968" y="148136"/>
                    <a:pt x="9642" y="130538"/>
                    <a:pt x="0" y="11677"/>
                  </a:cubicBezTo>
                  <a:close/>
                </a:path>
                <a:path w="367217" h="280760" stroke="0" extrusionOk="0">
                  <a:moveTo>
                    <a:pt x="0" y="11677"/>
                  </a:moveTo>
                  <a:cubicBezTo>
                    <a:pt x="-106" y="4888"/>
                    <a:pt x="4377" y="378"/>
                    <a:pt x="11677" y="0"/>
                  </a:cubicBezTo>
                  <a:cubicBezTo>
                    <a:pt x="164761" y="11575"/>
                    <a:pt x="287077" y="7049"/>
                    <a:pt x="355540" y="0"/>
                  </a:cubicBezTo>
                  <a:cubicBezTo>
                    <a:pt x="362118" y="-429"/>
                    <a:pt x="367928" y="4390"/>
                    <a:pt x="367217" y="11677"/>
                  </a:cubicBezTo>
                  <a:cubicBezTo>
                    <a:pt x="356576" y="124068"/>
                    <a:pt x="378695" y="151294"/>
                    <a:pt x="367217" y="269083"/>
                  </a:cubicBezTo>
                  <a:cubicBezTo>
                    <a:pt x="367131" y="275427"/>
                    <a:pt x="362527" y="280908"/>
                    <a:pt x="355540" y="280760"/>
                  </a:cubicBezTo>
                  <a:cubicBezTo>
                    <a:pt x="196027" y="275980"/>
                    <a:pt x="103196" y="278727"/>
                    <a:pt x="11677" y="280760"/>
                  </a:cubicBezTo>
                  <a:cubicBezTo>
                    <a:pt x="4647" y="281735"/>
                    <a:pt x="1024" y="275733"/>
                    <a:pt x="0" y="269083"/>
                  </a:cubicBezTo>
                  <a:cubicBezTo>
                    <a:pt x="-5695" y="194364"/>
                    <a:pt x="-3195" y="136820"/>
                    <a:pt x="0" y="116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898845589">
                    <a:prstGeom prst="roundRect">
                      <a:avLst>
                        <a:gd name="adj" fmla="val 4159"/>
                      </a:avLst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8" name="Text Placeholder">
              <a:extLst>
                <a:ext uri="{FF2B5EF4-FFF2-40B4-BE49-F238E27FC236}">
                  <a16:creationId xmlns:a16="http://schemas.microsoft.com/office/drawing/2014/main" id="{86774337-AE14-4539-9AAD-B773D5ABACBC}"/>
                </a:ext>
              </a:extLst>
            </p:cNvPr>
            <p:cNvSpPr txBox="1"/>
            <p:nvPr/>
          </p:nvSpPr>
          <p:spPr>
            <a:xfrm>
              <a:off x="8414697" y="8178152"/>
              <a:ext cx="1094655" cy="1446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5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grpSp>
          <p:nvGrpSpPr>
            <p:cNvPr id="509" name="Picture Placeholder Graphic">
              <a:extLst>
                <a:ext uri="{FF2B5EF4-FFF2-40B4-BE49-F238E27FC236}">
                  <a16:creationId xmlns:a16="http://schemas.microsoft.com/office/drawing/2014/main" id="{322EFD48-704C-4325-9652-26A9E9A4BB0E}"/>
                </a:ext>
              </a:extLst>
            </p:cNvPr>
            <p:cNvGrpSpPr/>
            <p:nvPr/>
          </p:nvGrpSpPr>
          <p:grpSpPr>
            <a:xfrm>
              <a:off x="8063325" y="8216955"/>
              <a:ext cx="208714" cy="101346"/>
              <a:chOff x="3311823" y="5471878"/>
              <a:chExt cx="1844171" cy="895476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510" name="Triangle 2">
                <a:extLst>
                  <a:ext uri="{FF2B5EF4-FFF2-40B4-BE49-F238E27FC236}">
                    <a16:creationId xmlns:a16="http://schemas.microsoft.com/office/drawing/2014/main" id="{65A1712D-EB3D-46F1-B50C-87862021845A}"/>
                  </a:ext>
                </a:extLst>
              </p:cNvPr>
              <p:cNvSpPr/>
              <p:nvPr/>
            </p:nvSpPr>
            <p:spPr>
              <a:xfrm>
                <a:off x="4043295" y="5655600"/>
                <a:ext cx="1112699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1" name="Triangle 1">
                <a:extLst>
                  <a:ext uri="{FF2B5EF4-FFF2-40B4-BE49-F238E27FC236}">
                    <a16:creationId xmlns:a16="http://schemas.microsoft.com/office/drawing/2014/main" id="{11B7D536-8881-4297-A949-0322554CA6CB}"/>
                  </a:ext>
                </a:extLst>
              </p:cNvPr>
              <p:cNvSpPr/>
              <p:nvPr/>
            </p:nvSpPr>
            <p:spPr>
              <a:xfrm>
                <a:off x="3311823" y="5475137"/>
                <a:ext cx="1394782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3" name="Circle">
                <a:extLst>
                  <a:ext uri="{FF2B5EF4-FFF2-40B4-BE49-F238E27FC236}">
                    <a16:creationId xmlns:a16="http://schemas.microsoft.com/office/drawing/2014/main" id="{3830B906-06B3-4AB6-BA02-0CB6CC2D331C}"/>
                  </a:ext>
                </a:extLst>
              </p:cNvPr>
              <p:cNvSpPr/>
              <p:nvPr/>
            </p:nvSpPr>
            <p:spPr>
              <a:xfrm>
                <a:off x="4855841" y="5471878"/>
                <a:ext cx="182881" cy="17999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48" name="Filled Picture Placeholder 3">
            <a:extLst>
              <a:ext uri="{FF2B5EF4-FFF2-40B4-BE49-F238E27FC236}">
                <a16:creationId xmlns:a16="http://schemas.microsoft.com/office/drawing/2014/main" id="{8895C571-8044-4760-87EA-5DC10972B858}"/>
              </a:ext>
            </a:extLst>
          </p:cNvPr>
          <p:cNvGrpSpPr/>
          <p:nvPr/>
        </p:nvGrpSpPr>
        <p:grpSpPr>
          <a:xfrm>
            <a:off x="10872956" y="4159482"/>
            <a:ext cx="868680" cy="1060704"/>
            <a:chOff x="9438388" y="9067382"/>
            <a:chExt cx="1077208" cy="1317572"/>
          </a:xfrm>
        </p:grpSpPr>
        <p:sp>
          <p:nvSpPr>
            <p:cNvPr id="553" name="Item Container">
              <a:extLst>
                <a:ext uri="{FF2B5EF4-FFF2-40B4-BE49-F238E27FC236}">
                  <a16:creationId xmlns:a16="http://schemas.microsoft.com/office/drawing/2014/main" id="{240FD7A8-45B1-4A9A-96CA-1956B3D68E5C}"/>
                </a:ext>
              </a:extLst>
            </p:cNvPr>
            <p:cNvSpPr/>
            <p:nvPr/>
          </p:nvSpPr>
          <p:spPr>
            <a:xfrm>
              <a:off x="9438388" y="9067382"/>
              <a:ext cx="1077208" cy="1317572"/>
            </a:xfrm>
            <a:custGeom>
              <a:avLst/>
              <a:gdLst>
                <a:gd name="connsiteX0" fmla="*/ 0 w 1077208"/>
                <a:gd name="connsiteY0" fmla="*/ 28977 h 1317572"/>
                <a:gd name="connsiteX1" fmla="*/ 28977 w 1077208"/>
                <a:gd name="connsiteY1" fmla="*/ 0 h 1317572"/>
                <a:gd name="connsiteX2" fmla="*/ 548797 w 1077208"/>
                <a:gd name="connsiteY2" fmla="*/ 0 h 1317572"/>
                <a:gd name="connsiteX3" fmla="*/ 1048231 w 1077208"/>
                <a:gd name="connsiteY3" fmla="*/ 0 h 1317572"/>
                <a:gd name="connsiteX4" fmla="*/ 1077208 w 1077208"/>
                <a:gd name="connsiteY4" fmla="*/ 28977 h 1317572"/>
                <a:gd name="connsiteX5" fmla="*/ 1077208 w 1077208"/>
                <a:gd name="connsiteY5" fmla="*/ 620997 h 1317572"/>
                <a:gd name="connsiteX6" fmla="*/ 1077208 w 1077208"/>
                <a:gd name="connsiteY6" fmla="*/ 1288595 h 1317572"/>
                <a:gd name="connsiteX7" fmla="*/ 1048231 w 1077208"/>
                <a:gd name="connsiteY7" fmla="*/ 1317572 h 1317572"/>
                <a:gd name="connsiteX8" fmla="*/ 569182 w 1077208"/>
                <a:gd name="connsiteY8" fmla="*/ 1317572 h 1317572"/>
                <a:gd name="connsiteX9" fmla="*/ 28977 w 1077208"/>
                <a:gd name="connsiteY9" fmla="*/ 1317572 h 1317572"/>
                <a:gd name="connsiteX10" fmla="*/ 0 w 1077208"/>
                <a:gd name="connsiteY10" fmla="*/ 1288595 h 1317572"/>
                <a:gd name="connsiteX11" fmla="*/ 0 w 1077208"/>
                <a:gd name="connsiteY11" fmla="*/ 696575 h 1317572"/>
                <a:gd name="connsiteX12" fmla="*/ 0 w 1077208"/>
                <a:gd name="connsiteY12" fmla="*/ 28977 h 13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208" h="1317572" fill="none" extrusionOk="0">
                  <a:moveTo>
                    <a:pt x="0" y="28977"/>
                  </a:moveTo>
                  <a:cubicBezTo>
                    <a:pt x="-1048" y="15617"/>
                    <a:pt x="15167" y="2304"/>
                    <a:pt x="28977" y="0"/>
                  </a:cubicBezTo>
                  <a:cubicBezTo>
                    <a:pt x="189787" y="-3920"/>
                    <a:pt x="389104" y="-19621"/>
                    <a:pt x="548797" y="0"/>
                  </a:cubicBezTo>
                  <a:cubicBezTo>
                    <a:pt x="708490" y="19621"/>
                    <a:pt x="906847" y="3276"/>
                    <a:pt x="1048231" y="0"/>
                  </a:cubicBezTo>
                  <a:cubicBezTo>
                    <a:pt x="1062717" y="332"/>
                    <a:pt x="1075363" y="14984"/>
                    <a:pt x="1077208" y="28977"/>
                  </a:cubicBezTo>
                  <a:cubicBezTo>
                    <a:pt x="1068919" y="148788"/>
                    <a:pt x="1092664" y="461358"/>
                    <a:pt x="1077208" y="620997"/>
                  </a:cubicBezTo>
                  <a:cubicBezTo>
                    <a:pt x="1061752" y="780636"/>
                    <a:pt x="1048393" y="1144514"/>
                    <a:pt x="1077208" y="1288595"/>
                  </a:cubicBezTo>
                  <a:cubicBezTo>
                    <a:pt x="1074708" y="1304337"/>
                    <a:pt x="1061169" y="1319828"/>
                    <a:pt x="1048231" y="1317572"/>
                  </a:cubicBezTo>
                  <a:cubicBezTo>
                    <a:pt x="878746" y="1311997"/>
                    <a:pt x="723064" y="1300388"/>
                    <a:pt x="569182" y="1317572"/>
                  </a:cubicBezTo>
                  <a:cubicBezTo>
                    <a:pt x="415300" y="1334756"/>
                    <a:pt x="137607" y="1311866"/>
                    <a:pt x="28977" y="1317572"/>
                  </a:cubicBezTo>
                  <a:cubicBezTo>
                    <a:pt x="11671" y="1317417"/>
                    <a:pt x="600" y="1302563"/>
                    <a:pt x="0" y="1288595"/>
                  </a:cubicBezTo>
                  <a:cubicBezTo>
                    <a:pt x="-28780" y="996768"/>
                    <a:pt x="-22012" y="985815"/>
                    <a:pt x="0" y="696575"/>
                  </a:cubicBezTo>
                  <a:cubicBezTo>
                    <a:pt x="22012" y="407335"/>
                    <a:pt x="25126" y="248505"/>
                    <a:pt x="0" y="28977"/>
                  </a:cubicBezTo>
                  <a:close/>
                </a:path>
                <a:path w="1077208" h="1317572" stroke="0" extrusionOk="0">
                  <a:moveTo>
                    <a:pt x="0" y="28977"/>
                  </a:moveTo>
                  <a:cubicBezTo>
                    <a:pt x="-831" y="10296"/>
                    <a:pt x="12470" y="223"/>
                    <a:pt x="28977" y="0"/>
                  </a:cubicBezTo>
                  <a:cubicBezTo>
                    <a:pt x="178322" y="-9236"/>
                    <a:pt x="421028" y="14644"/>
                    <a:pt x="538604" y="0"/>
                  </a:cubicBezTo>
                  <a:cubicBezTo>
                    <a:pt x="656180" y="-14644"/>
                    <a:pt x="924709" y="-9353"/>
                    <a:pt x="1048231" y="0"/>
                  </a:cubicBezTo>
                  <a:cubicBezTo>
                    <a:pt x="1062757" y="-1785"/>
                    <a:pt x="1074880" y="12564"/>
                    <a:pt x="1077208" y="28977"/>
                  </a:cubicBezTo>
                  <a:cubicBezTo>
                    <a:pt x="1073036" y="242034"/>
                    <a:pt x="1051221" y="494556"/>
                    <a:pt x="1077208" y="671382"/>
                  </a:cubicBezTo>
                  <a:cubicBezTo>
                    <a:pt x="1103195" y="848208"/>
                    <a:pt x="1057611" y="1145321"/>
                    <a:pt x="1077208" y="1288595"/>
                  </a:cubicBezTo>
                  <a:cubicBezTo>
                    <a:pt x="1076729" y="1305404"/>
                    <a:pt x="1066530" y="1318024"/>
                    <a:pt x="1048231" y="1317572"/>
                  </a:cubicBezTo>
                  <a:cubicBezTo>
                    <a:pt x="856702" y="1311924"/>
                    <a:pt x="677981" y="1325197"/>
                    <a:pt x="538604" y="1317572"/>
                  </a:cubicBezTo>
                  <a:cubicBezTo>
                    <a:pt x="399227" y="1309947"/>
                    <a:pt x="142003" y="1317351"/>
                    <a:pt x="28977" y="1317572"/>
                  </a:cubicBezTo>
                  <a:cubicBezTo>
                    <a:pt x="10717" y="1320139"/>
                    <a:pt x="1961" y="1306259"/>
                    <a:pt x="0" y="1288595"/>
                  </a:cubicBezTo>
                  <a:cubicBezTo>
                    <a:pt x="-11278" y="989058"/>
                    <a:pt x="-9088" y="927402"/>
                    <a:pt x="0" y="683978"/>
                  </a:cubicBezTo>
                  <a:cubicBezTo>
                    <a:pt x="9088" y="440554"/>
                    <a:pt x="-905" y="323501"/>
                    <a:pt x="0" y="2897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898845589">
                    <a:prstGeom prst="roundRect">
                      <a:avLst>
                        <a:gd name="adj" fmla="val 269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4" name="Text Placeholder">
              <a:extLst>
                <a:ext uri="{FF2B5EF4-FFF2-40B4-BE49-F238E27FC236}">
                  <a16:creationId xmlns:a16="http://schemas.microsoft.com/office/drawing/2014/main" id="{C1682C2E-4154-4D9D-8AB3-A4D0F041C2F3}"/>
                </a:ext>
              </a:extLst>
            </p:cNvPr>
            <p:cNvSpPr txBox="1"/>
            <p:nvPr/>
          </p:nvSpPr>
          <p:spPr>
            <a:xfrm>
              <a:off x="9537028" y="10034601"/>
              <a:ext cx="904946" cy="1869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7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r>
                <a:rPr lang="en-US" sz="6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sp>
          <p:nvSpPr>
            <p:cNvPr id="555" name="Picture Placeholder Background">
              <a:extLst>
                <a:ext uri="{FF2B5EF4-FFF2-40B4-BE49-F238E27FC236}">
                  <a16:creationId xmlns:a16="http://schemas.microsoft.com/office/drawing/2014/main" id="{531C32A7-D6AF-484E-9751-71D7428DB9DB}"/>
                </a:ext>
              </a:extLst>
            </p:cNvPr>
            <p:cNvSpPr/>
            <p:nvPr/>
          </p:nvSpPr>
          <p:spPr>
            <a:xfrm>
              <a:off x="9502438" y="9126082"/>
              <a:ext cx="940956" cy="831380"/>
            </a:xfrm>
            <a:custGeom>
              <a:avLst/>
              <a:gdLst>
                <a:gd name="connsiteX0" fmla="*/ 0 w 940956"/>
                <a:gd name="connsiteY0" fmla="*/ 16603 h 831380"/>
                <a:gd name="connsiteX1" fmla="*/ 16603 w 940956"/>
                <a:gd name="connsiteY1" fmla="*/ 0 h 831380"/>
                <a:gd name="connsiteX2" fmla="*/ 488633 w 940956"/>
                <a:gd name="connsiteY2" fmla="*/ 0 h 831380"/>
                <a:gd name="connsiteX3" fmla="*/ 924353 w 940956"/>
                <a:gd name="connsiteY3" fmla="*/ 0 h 831380"/>
                <a:gd name="connsiteX4" fmla="*/ 940956 w 940956"/>
                <a:gd name="connsiteY4" fmla="*/ 16603 h 831380"/>
                <a:gd name="connsiteX5" fmla="*/ 940956 w 940956"/>
                <a:gd name="connsiteY5" fmla="*/ 399727 h 831380"/>
                <a:gd name="connsiteX6" fmla="*/ 940956 w 940956"/>
                <a:gd name="connsiteY6" fmla="*/ 814777 h 831380"/>
                <a:gd name="connsiteX7" fmla="*/ 924353 w 940956"/>
                <a:gd name="connsiteY7" fmla="*/ 831380 h 831380"/>
                <a:gd name="connsiteX8" fmla="*/ 497711 w 940956"/>
                <a:gd name="connsiteY8" fmla="*/ 831380 h 831380"/>
                <a:gd name="connsiteX9" fmla="*/ 16603 w 940956"/>
                <a:gd name="connsiteY9" fmla="*/ 831380 h 831380"/>
                <a:gd name="connsiteX10" fmla="*/ 0 w 940956"/>
                <a:gd name="connsiteY10" fmla="*/ 814777 h 831380"/>
                <a:gd name="connsiteX11" fmla="*/ 0 w 940956"/>
                <a:gd name="connsiteY11" fmla="*/ 407708 h 831380"/>
                <a:gd name="connsiteX12" fmla="*/ 0 w 940956"/>
                <a:gd name="connsiteY12" fmla="*/ 16603 h 83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0956" h="831380" fill="none" extrusionOk="0">
                  <a:moveTo>
                    <a:pt x="0" y="16603"/>
                  </a:moveTo>
                  <a:cubicBezTo>
                    <a:pt x="1874" y="6998"/>
                    <a:pt x="7548" y="-231"/>
                    <a:pt x="16603" y="0"/>
                  </a:cubicBezTo>
                  <a:cubicBezTo>
                    <a:pt x="250492" y="-9649"/>
                    <a:pt x="326904" y="20614"/>
                    <a:pt x="488633" y="0"/>
                  </a:cubicBezTo>
                  <a:cubicBezTo>
                    <a:pt x="650362" y="-20614"/>
                    <a:pt x="735832" y="7509"/>
                    <a:pt x="924353" y="0"/>
                  </a:cubicBezTo>
                  <a:cubicBezTo>
                    <a:pt x="933613" y="-1512"/>
                    <a:pt x="941653" y="8096"/>
                    <a:pt x="940956" y="16603"/>
                  </a:cubicBezTo>
                  <a:cubicBezTo>
                    <a:pt x="941709" y="184047"/>
                    <a:pt x="936034" y="300586"/>
                    <a:pt x="940956" y="399727"/>
                  </a:cubicBezTo>
                  <a:cubicBezTo>
                    <a:pt x="945878" y="498868"/>
                    <a:pt x="935681" y="713037"/>
                    <a:pt x="940956" y="814777"/>
                  </a:cubicBezTo>
                  <a:cubicBezTo>
                    <a:pt x="940971" y="824566"/>
                    <a:pt x="932980" y="830546"/>
                    <a:pt x="924353" y="831380"/>
                  </a:cubicBezTo>
                  <a:cubicBezTo>
                    <a:pt x="814457" y="842773"/>
                    <a:pt x="629161" y="819317"/>
                    <a:pt x="497711" y="831380"/>
                  </a:cubicBezTo>
                  <a:cubicBezTo>
                    <a:pt x="366261" y="843443"/>
                    <a:pt x="166565" y="842649"/>
                    <a:pt x="16603" y="831380"/>
                  </a:cubicBezTo>
                  <a:cubicBezTo>
                    <a:pt x="8845" y="832148"/>
                    <a:pt x="1266" y="824485"/>
                    <a:pt x="0" y="814777"/>
                  </a:cubicBezTo>
                  <a:cubicBezTo>
                    <a:pt x="18452" y="650559"/>
                    <a:pt x="15937" y="560411"/>
                    <a:pt x="0" y="407708"/>
                  </a:cubicBezTo>
                  <a:cubicBezTo>
                    <a:pt x="-15937" y="255005"/>
                    <a:pt x="-3029" y="134122"/>
                    <a:pt x="0" y="16603"/>
                  </a:cubicBezTo>
                  <a:close/>
                </a:path>
                <a:path w="940956" h="831380" stroke="0" extrusionOk="0">
                  <a:moveTo>
                    <a:pt x="0" y="16603"/>
                  </a:moveTo>
                  <a:cubicBezTo>
                    <a:pt x="1507" y="6114"/>
                    <a:pt x="7211" y="-56"/>
                    <a:pt x="16603" y="0"/>
                  </a:cubicBezTo>
                  <a:cubicBezTo>
                    <a:pt x="126699" y="-7563"/>
                    <a:pt x="346133" y="12458"/>
                    <a:pt x="443246" y="0"/>
                  </a:cubicBezTo>
                  <a:cubicBezTo>
                    <a:pt x="540359" y="-12458"/>
                    <a:pt x="713023" y="20829"/>
                    <a:pt x="924353" y="0"/>
                  </a:cubicBezTo>
                  <a:cubicBezTo>
                    <a:pt x="932522" y="514"/>
                    <a:pt x="939483" y="8512"/>
                    <a:pt x="940956" y="16603"/>
                  </a:cubicBezTo>
                  <a:cubicBezTo>
                    <a:pt x="923402" y="156226"/>
                    <a:pt x="948260" y="267442"/>
                    <a:pt x="940956" y="431653"/>
                  </a:cubicBezTo>
                  <a:cubicBezTo>
                    <a:pt x="933653" y="595864"/>
                    <a:pt x="942172" y="628921"/>
                    <a:pt x="940956" y="814777"/>
                  </a:cubicBezTo>
                  <a:cubicBezTo>
                    <a:pt x="942728" y="824337"/>
                    <a:pt x="931723" y="832436"/>
                    <a:pt x="924353" y="831380"/>
                  </a:cubicBezTo>
                  <a:cubicBezTo>
                    <a:pt x="754625" y="847310"/>
                    <a:pt x="698197" y="837366"/>
                    <a:pt x="488633" y="831380"/>
                  </a:cubicBezTo>
                  <a:cubicBezTo>
                    <a:pt x="279069" y="825394"/>
                    <a:pt x="133568" y="830433"/>
                    <a:pt x="16603" y="831380"/>
                  </a:cubicBezTo>
                  <a:cubicBezTo>
                    <a:pt x="8000" y="832360"/>
                    <a:pt x="1348" y="824926"/>
                    <a:pt x="0" y="814777"/>
                  </a:cubicBezTo>
                  <a:cubicBezTo>
                    <a:pt x="11988" y="677358"/>
                    <a:pt x="2674" y="535187"/>
                    <a:pt x="0" y="423672"/>
                  </a:cubicBezTo>
                  <a:cubicBezTo>
                    <a:pt x="-2674" y="312158"/>
                    <a:pt x="19460" y="153576"/>
                    <a:pt x="0" y="166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825056982">
                    <a:prstGeom prst="roundRect">
                      <a:avLst>
                        <a:gd name="adj" fmla="val 199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56" name="Picture Placeholder Graphic">
              <a:extLst>
                <a:ext uri="{FF2B5EF4-FFF2-40B4-BE49-F238E27FC236}">
                  <a16:creationId xmlns:a16="http://schemas.microsoft.com/office/drawing/2014/main" id="{FAE4554F-4D0D-492F-8600-C7056719832A}"/>
                </a:ext>
              </a:extLst>
            </p:cNvPr>
            <p:cNvGrpSpPr/>
            <p:nvPr/>
          </p:nvGrpSpPr>
          <p:grpSpPr>
            <a:xfrm>
              <a:off x="9686729" y="9420926"/>
              <a:ext cx="549040" cy="266600"/>
              <a:chOff x="9686729" y="9420926"/>
              <a:chExt cx="549040" cy="266600"/>
            </a:xfrm>
          </p:grpSpPr>
          <p:sp>
            <p:nvSpPr>
              <p:cNvPr id="557" name="Triangle 2">
                <a:extLst>
                  <a:ext uri="{FF2B5EF4-FFF2-40B4-BE49-F238E27FC236}">
                    <a16:creationId xmlns:a16="http://schemas.microsoft.com/office/drawing/2014/main" id="{DE7E0143-AFD0-46E4-B86C-96DC12C9D79C}"/>
                  </a:ext>
                </a:extLst>
              </p:cNvPr>
              <p:cNvSpPr/>
              <p:nvPr/>
            </p:nvSpPr>
            <p:spPr>
              <a:xfrm>
                <a:off x="9904499" y="9475625"/>
                <a:ext cx="331270" cy="2119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8" name="Triangle 1">
                <a:extLst>
                  <a:ext uri="{FF2B5EF4-FFF2-40B4-BE49-F238E27FC236}">
                    <a16:creationId xmlns:a16="http://schemas.microsoft.com/office/drawing/2014/main" id="{266B3202-75F8-4521-BAB9-99722BFE6DEE}"/>
                  </a:ext>
                </a:extLst>
              </p:cNvPr>
              <p:cNvSpPr/>
              <p:nvPr/>
            </p:nvSpPr>
            <p:spPr>
              <a:xfrm>
                <a:off x="9686729" y="9421906"/>
                <a:ext cx="415250" cy="265620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9" name="Circle">
                <a:extLst>
                  <a:ext uri="{FF2B5EF4-FFF2-40B4-BE49-F238E27FC236}">
                    <a16:creationId xmlns:a16="http://schemas.microsoft.com/office/drawing/2014/main" id="{718FD9E4-0DCD-45D0-AD6A-03BC1282C2CE}"/>
                  </a:ext>
                </a:extLst>
              </p:cNvPr>
              <p:cNvSpPr/>
              <p:nvPr/>
            </p:nvSpPr>
            <p:spPr>
              <a:xfrm>
                <a:off x="10146409" y="9420926"/>
                <a:ext cx="54447" cy="53586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49" name="Filled Picture Placeholder 2">
            <a:extLst>
              <a:ext uri="{FF2B5EF4-FFF2-40B4-BE49-F238E27FC236}">
                <a16:creationId xmlns:a16="http://schemas.microsoft.com/office/drawing/2014/main" id="{DAA74DD7-051E-46C6-A572-C96A2B63EB0C}"/>
              </a:ext>
            </a:extLst>
          </p:cNvPr>
          <p:cNvGrpSpPr/>
          <p:nvPr/>
        </p:nvGrpSpPr>
        <p:grpSpPr>
          <a:xfrm>
            <a:off x="9536496" y="4210344"/>
            <a:ext cx="1033272" cy="1060704"/>
            <a:chOff x="7977107" y="9082425"/>
            <a:chExt cx="1263335" cy="1317578"/>
          </a:xfrm>
        </p:grpSpPr>
        <p:sp>
          <p:nvSpPr>
            <p:cNvPr id="545" name="Item Container">
              <a:extLst>
                <a:ext uri="{FF2B5EF4-FFF2-40B4-BE49-F238E27FC236}">
                  <a16:creationId xmlns:a16="http://schemas.microsoft.com/office/drawing/2014/main" id="{C824E858-1542-4CCB-819A-E7F99E712E0C}"/>
                </a:ext>
              </a:extLst>
            </p:cNvPr>
            <p:cNvSpPr/>
            <p:nvPr/>
          </p:nvSpPr>
          <p:spPr>
            <a:xfrm>
              <a:off x="7977107" y="9082430"/>
              <a:ext cx="1263335" cy="1317573"/>
            </a:xfrm>
            <a:custGeom>
              <a:avLst/>
              <a:gdLst>
                <a:gd name="connsiteX0" fmla="*/ 0 w 1263335"/>
                <a:gd name="connsiteY0" fmla="*/ 12545 h 1317573"/>
                <a:gd name="connsiteX1" fmla="*/ 12545 w 1263335"/>
                <a:gd name="connsiteY1" fmla="*/ 0 h 1317573"/>
                <a:gd name="connsiteX2" fmla="*/ 656432 w 1263335"/>
                <a:gd name="connsiteY2" fmla="*/ 0 h 1317573"/>
                <a:gd name="connsiteX3" fmla="*/ 1250790 w 1263335"/>
                <a:gd name="connsiteY3" fmla="*/ 0 h 1317573"/>
                <a:gd name="connsiteX4" fmla="*/ 1263335 w 1263335"/>
                <a:gd name="connsiteY4" fmla="*/ 12545 h 1317573"/>
                <a:gd name="connsiteX5" fmla="*/ 1263335 w 1263335"/>
                <a:gd name="connsiteY5" fmla="*/ 632937 h 1317573"/>
                <a:gd name="connsiteX6" fmla="*/ 1263335 w 1263335"/>
                <a:gd name="connsiteY6" fmla="*/ 1305028 h 1317573"/>
                <a:gd name="connsiteX7" fmla="*/ 1250790 w 1263335"/>
                <a:gd name="connsiteY7" fmla="*/ 1317573 h 1317573"/>
                <a:gd name="connsiteX8" fmla="*/ 668815 w 1263335"/>
                <a:gd name="connsiteY8" fmla="*/ 1317573 h 1317573"/>
                <a:gd name="connsiteX9" fmla="*/ 12545 w 1263335"/>
                <a:gd name="connsiteY9" fmla="*/ 1317573 h 1317573"/>
                <a:gd name="connsiteX10" fmla="*/ 0 w 1263335"/>
                <a:gd name="connsiteY10" fmla="*/ 1305028 h 1317573"/>
                <a:gd name="connsiteX11" fmla="*/ 0 w 1263335"/>
                <a:gd name="connsiteY11" fmla="*/ 645862 h 1317573"/>
                <a:gd name="connsiteX12" fmla="*/ 0 w 1263335"/>
                <a:gd name="connsiteY12" fmla="*/ 12545 h 131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3335" h="1317573" fill="none" extrusionOk="0">
                  <a:moveTo>
                    <a:pt x="0" y="12545"/>
                  </a:moveTo>
                  <a:cubicBezTo>
                    <a:pt x="1477" y="5274"/>
                    <a:pt x="5840" y="-448"/>
                    <a:pt x="12545" y="0"/>
                  </a:cubicBezTo>
                  <a:cubicBezTo>
                    <a:pt x="146218" y="7478"/>
                    <a:pt x="487364" y="-2867"/>
                    <a:pt x="656432" y="0"/>
                  </a:cubicBezTo>
                  <a:cubicBezTo>
                    <a:pt x="825500" y="2867"/>
                    <a:pt x="1117808" y="-29597"/>
                    <a:pt x="1250790" y="0"/>
                  </a:cubicBezTo>
                  <a:cubicBezTo>
                    <a:pt x="1257801" y="-1402"/>
                    <a:pt x="1263481" y="5756"/>
                    <a:pt x="1263335" y="12545"/>
                  </a:cubicBezTo>
                  <a:cubicBezTo>
                    <a:pt x="1266604" y="277369"/>
                    <a:pt x="1270778" y="400820"/>
                    <a:pt x="1263335" y="632937"/>
                  </a:cubicBezTo>
                  <a:cubicBezTo>
                    <a:pt x="1255892" y="865054"/>
                    <a:pt x="1255199" y="1118922"/>
                    <a:pt x="1263335" y="1305028"/>
                  </a:cubicBezTo>
                  <a:cubicBezTo>
                    <a:pt x="1263351" y="1312607"/>
                    <a:pt x="1256898" y="1316312"/>
                    <a:pt x="1250790" y="1317573"/>
                  </a:cubicBezTo>
                  <a:cubicBezTo>
                    <a:pt x="1106016" y="1327966"/>
                    <a:pt x="949120" y="1299996"/>
                    <a:pt x="668815" y="1317573"/>
                  </a:cubicBezTo>
                  <a:cubicBezTo>
                    <a:pt x="388511" y="1335150"/>
                    <a:pt x="203312" y="1346389"/>
                    <a:pt x="12545" y="1317573"/>
                  </a:cubicBezTo>
                  <a:cubicBezTo>
                    <a:pt x="6707" y="1318166"/>
                    <a:pt x="1374" y="1312540"/>
                    <a:pt x="0" y="1305028"/>
                  </a:cubicBezTo>
                  <a:cubicBezTo>
                    <a:pt x="17748" y="1089795"/>
                    <a:pt x="18030" y="944220"/>
                    <a:pt x="0" y="645862"/>
                  </a:cubicBezTo>
                  <a:cubicBezTo>
                    <a:pt x="-18030" y="347504"/>
                    <a:pt x="22016" y="258876"/>
                    <a:pt x="0" y="12545"/>
                  </a:cubicBezTo>
                  <a:close/>
                </a:path>
                <a:path w="1263335" h="1317573" stroke="0" extrusionOk="0">
                  <a:moveTo>
                    <a:pt x="0" y="12545"/>
                  </a:moveTo>
                  <a:cubicBezTo>
                    <a:pt x="603" y="5090"/>
                    <a:pt x="5315" y="-76"/>
                    <a:pt x="12545" y="0"/>
                  </a:cubicBezTo>
                  <a:cubicBezTo>
                    <a:pt x="171220" y="2342"/>
                    <a:pt x="391273" y="-17550"/>
                    <a:pt x="594520" y="0"/>
                  </a:cubicBezTo>
                  <a:cubicBezTo>
                    <a:pt x="797767" y="17550"/>
                    <a:pt x="1021589" y="-32155"/>
                    <a:pt x="1250790" y="0"/>
                  </a:cubicBezTo>
                  <a:cubicBezTo>
                    <a:pt x="1257041" y="348"/>
                    <a:pt x="1263147" y="5755"/>
                    <a:pt x="1263335" y="12545"/>
                  </a:cubicBezTo>
                  <a:cubicBezTo>
                    <a:pt x="1229968" y="191256"/>
                    <a:pt x="1294839" y="384035"/>
                    <a:pt x="1263335" y="684636"/>
                  </a:cubicBezTo>
                  <a:cubicBezTo>
                    <a:pt x="1231831" y="985237"/>
                    <a:pt x="1261881" y="1042457"/>
                    <a:pt x="1263335" y="1305028"/>
                  </a:cubicBezTo>
                  <a:cubicBezTo>
                    <a:pt x="1264381" y="1312186"/>
                    <a:pt x="1256677" y="1318183"/>
                    <a:pt x="1250790" y="1317573"/>
                  </a:cubicBezTo>
                  <a:cubicBezTo>
                    <a:pt x="980662" y="1303135"/>
                    <a:pt x="864870" y="1334614"/>
                    <a:pt x="656432" y="1317573"/>
                  </a:cubicBezTo>
                  <a:cubicBezTo>
                    <a:pt x="447994" y="1300532"/>
                    <a:pt x="304271" y="1349596"/>
                    <a:pt x="12545" y="1317573"/>
                  </a:cubicBezTo>
                  <a:cubicBezTo>
                    <a:pt x="5707" y="1317728"/>
                    <a:pt x="1296" y="1312898"/>
                    <a:pt x="0" y="1305028"/>
                  </a:cubicBezTo>
                  <a:cubicBezTo>
                    <a:pt x="14238" y="1159411"/>
                    <a:pt x="-31551" y="934241"/>
                    <a:pt x="0" y="671711"/>
                  </a:cubicBezTo>
                  <a:cubicBezTo>
                    <a:pt x="31551" y="409181"/>
                    <a:pt x="-688" y="217858"/>
                    <a:pt x="0" y="1254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825056982">
                    <a:prstGeom prst="roundRect">
                      <a:avLst>
                        <a:gd name="adj" fmla="val 993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6" name="Picture Placeholder">
              <a:extLst>
                <a:ext uri="{FF2B5EF4-FFF2-40B4-BE49-F238E27FC236}">
                  <a16:creationId xmlns:a16="http://schemas.microsoft.com/office/drawing/2014/main" id="{172C8085-F7B4-4E42-BA85-108D53E084BA}"/>
                </a:ext>
              </a:extLst>
            </p:cNvPr>
            <p:cNvSpPr/>
            <p:nvPr/>
          </p:nvSpPr>
          <p:spPr>
            <a:xfrm flipV="1">
              <a:off x="7977107" y="9082425"/>
              <a:ext cx="1263335" cy="780708"/>
            </a:xfrm>
            <a:custGeom>
              <a:avLst/>
              <a:gdLst>
                <a:gd name="connsiteX0" fmla="*/ 0 w 1263335"/>
                <a:gd name="connsiteY0" fmla="*/ 15591 h 780708"/>
                <a:gd name="connsiteX1" fmla="*/ 15591 w 1263335"/>
                <a:gd name="connsiteY1" fmla="*/ 0 h 780708"/>
                <a:gd name="connsiteX2" fmla="*/ 643989 w 1263335"/>
                <a:gd name="connsiteY2" fmla="*/ 0 h 780708"/>
                <a:gd name="connsiteX3" fmla="*/ 1247744 w 1263335"/>
                <a:gd name="connsiteY3" fmla="*/ 0 h 780708"/>
                <a:gd name="connsiteX4" fmla="*/ 1263335 w 1263335"/>
                <a:gd name="connsiteY4" fmla="*/ 15591 h 780708"/>
                <a:gd name="connsiteX5" fmla="*/ 1263335 w 1263335"/>
                <a:gd name="connsiteY5" fmla="*/ 375363 h 780708"/>
                <a:gd name="connsiteX6" fmla="*/ 1263335 w 1263335"/>
                <a:gd name="connsiteY6" fmla="*/ 765117 h 780708"/>
                <a:gd name="connsiteX7" fmla="*/ 1247744 w 1263335"/>
                <a:gd name="connsiteY7" fmla="*/ 780708 h 780708"/>
                <a:gd name="connsiteX8" fmla="*/ 619346 w 1263335"/>
                <a:gd name="connsiteY8" fmla="*/ 780708 h 780708"/>
                <a:gd name="connsiteX9" fmla="*/ 15591 w 1263335"/>
                <a:gd name="connsiteY9" fmla="*/ 780708 h 780708"/>
                <a:gd name="connsiteX10" fmla="*/ 0 w 1263335"/>
                <a:gd name="connsiteY10" fmla="*/ 765117 h 780708"/>
                <a:gd name="connsiteX11" fmla="*/ 0 w 1263335"/>
                <a:gd name="connsiteY11" fmla="*/ 382859 h 780708"/>
                <a:gd name="connsiteX12" fmla="*/ 0 w 1263335"/>
                <a:gd name="connsiteY12" fmla="*/ 15591 h 780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3335" h="780708" fill="none" extrusionOk="0">
                  <a:moveTo>
                    <a:pt x="0" y="15591"/>
                  </a:moveTo>
                  <a:cubicBezTo>
                    <a:pt x="-1138" y="7167"/>
                    <a:pt x="5651" y="-917"/>
                    <a:pt x="15591" y="0"/>
                  </a:cubicBezTo>
                  <a:cubicBezTo>
                    <a:pt x="176089" y="-3665"/>
                    <a:pt x="409831" y="-18519"/>
                    <a:pt x="643989" y="0"/>
                  </a:cubicBezTo>
                  <a:cubicBezTo>
                    <a:pt x="878147" y="18519"/>
                    <a:pt x="1017014" y="-24409"/>
                    <a:pt x="1247744" y="0"/>
                  </a:cubicBezTo>
                  <a:cubicBezTo>
                    <a:pt x="1255405" y="1699"/>
                    <a:pt x="1263746" y="7285"/>
                    <a:pt x="1263335" y="15591"/>
                  </a:cubicBezTo>
                  <a:cubicBezTo>
                    <a:pt x="1265117" y="148102"/>
                    <a:pt x="1279406" y="210986"/>
                    <a:pt x="1263335" y="375363"/>
                  </a:cubicBezTo>
                  <a:cubicBezTo>
                    <a:pt x="1247264" y="539740"/>
                    <a:pt x="1246910" y="657731"/>
                    <a:pt x="1263335" y="765117"/>
                  </a:cubicBezTo>
                  <a:cubicBezTo>
                    <a:pt x="1263728" y="774507"/>
                    <a:pt x="1254940" y="781454"/>
                    <a:pt x="1247744" y="780708"/>
                  </a:cubicBezTo>
                  <a:cubicBezTo>
                    <a:pt x="1045412" y="803683"/>
                    <a:pt x="781168" y="757582"/>
                    <a:pt x="619346" y="780708"/>
                  </a:cubicBezTo>
                  <a:cubicBezTo>
                    <a:pt x="457524" y="803834"/>
                    <a:pt x="289385" y="753793"/>
                    <a:pt x="15591" y="780708"/>
                  </a:cubicBezTo>
                  <a:cubicBezTo>
                    <a:pt x="6790" y="781090"/>
                    <a:pt x="-1129" y="772230"/>
                    <a:pt x="0" y="765117"/>
                  </a:cubicBezTo>
                  <a:cubicBezTo>
                    <a:pt x="14942" y="645708"/>
                    <a:pt x="14244" y="565554"/>
                    <a:pt x="0" y="382859"/>
                  </a:cubicBezTo>
                  <a:cubicBezTo>
                    <a:pt x="-14244" y="200164"/>
                    <a:pt x="-11638" y="165246"/>
                    <a:pt x="0" y="15591"/>
                  </a:cubicBezTo>
                  <a:close/>
                </a:path>
                <a:path w="1263335" h="780708" stroke="0" extrusionOk="0">
                  <a:moveTo>
                    <a:pt x="0" y="15591"/>
                  </a:moveTo>
                  <a:cubicBezTo>
                    <a:pt x="-212" y="6849"/>
                    <a:pt x="5365" y="606"/>
                    <a:pt x="15591" y="0"/>
                  </a:cubicBezTo>
                  <a:cubicBezTo>
                    <a:pt x="163439" y="-13397"/>
                    <a:pt x="464394" y="-17807"/>
                    <a:pt x="656311" y="0"/>
                  </a:cubicBezTo>
                  <a:cubicBezTo>
                    <a:pt x="848228" y="17807"/>
                    <a:pt x="1127039" y="-6654"/>
                    <a:pt x="1247744" y="0"/>
                  </a:cubicBezTo>
                  <a:cubicBezTo>
                    <a:pt x="1256135" y="-120"/>
                    <a:pt x="1264930" y="7742"/>
                    <a:pt x="1263335" y="15591"/>
                  </a:cubicBezTo>
                  <a:cubicBezTo>
                    <a:pt x="1279043" y="112796"/>
                    <a:pt x="1259627" y="294758"/>
                    <a:pt x="1263335" y="375363"/>
                  </a:cubicBezTo>
                  <a:cubicBezTo>
                    <a:pt x="1267043" y="455968"/>
                    <a:pt x="1249808" y="592661"/>
                    <a:pt x="1263335" y="765117"/>
                  </a:cubicBezTo>
                  <a:cubicBezTo>
                    <a:pt x="1263203" y="772472"/>
                    <a:pt x="1255652" y="781685"/>
                    <a:pt x="1247744" y="780708"/>
                  </a:cubicBezTo>
                  <a:cubicBezTo>
                    <a:pt x="1015246" y="753320"/>
                    <a:pt x="811251" y="764209"/>
                    <a:pt x="656311" y="780708"/>
                  </a:cubicBezTo>
                  <a:cubicBezTo>
                    <a:pt x="501371" y="797207"/>
                    <a:pt x="289756" y="796154"/>
                    <a:pt x="15591" y="780708"/>
                  </a:cubicBezTo>
                  <a:cubicBezTo>
                    <a:pt x="8047" y="782297"/>
                    <a:pt x="162" y="775401"/>
                    <a:pt x="0" y="765117"/>
                  </a:cubicBezTo>
                  <a:cubicBezTo>
                    <a:pt x="12742" y="643844"/>
                    <a:pt x="9690" y="566426"/>
                    <a:pt x="0" y="412840"/>
                  </a:cubicBezTo>
                  <a:cubicBezTo>
                    <a:pt x="-9690" y="259254"/>
                    <a:pt x="19068" y="151802"/>
                    <a:pt x="0" y="1559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199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7" name="Text Placeholder">
              <a:extLst>
                <a:ext uri="{FF2B5EF4-FFF2-40B4-BE49-F238E27FC236}">
                  <a16:creationId xmlns:a16="http://schemas.microsoft.com/office/drawing/2014/main" id="{0E038BF7-BB5D-415B-8903-18A25F4B8A1A}"/>
                </a:ext>
              </a:extLst>
            </p:cNvPr>
            <p:cNvSpPr txBox="1"/>
            <p:nvPr/>
          </p:nvSpPr>
          <p:spPr>
            <a:xfrm>
              <a:off x="8063260" y="9943395"/>
              <a:ext cx="1093257" cy="1869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pPr algn="ctr"/>
              <a:r>
                <a:rPr lang="en-US" sz="6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grpSp>
          <p:nvGrpSpPr>
            <p:cNvPr id="548" name="Picture Placeholder Graphic">
              <a:extLst>
                <a:ext uri="{FF2B5EF4-FFF2-40B4-BE49-F238E27FC236}">
                  <a16:creationId xmlns:a16="http://schemas.microsoft.com/office/drawing/2014/main" id="{A2B9EBBE-CCBC-47B4-A578-DD0B29C33023}"/>
                </a:ext>
              </a:extLst>
            </p:cNvPr>
            <p:cNvGrpSpPr/>
            <p:nvPr/>
          </p:nvGrpSpPr>
          <p:grpSpPr>
            <a:xfrm>
              <a:off x="8294167" y="9357860"/>
              <a:ext cx="628542" cy="305205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550" name="Triangle 2">
                <a:extLst>
                  <a:ext uri="{FF2B5EF4-FFF2-40B4-BE49-F238E27FC236}">
                    <a16:creationId xmlns:a16="http://schemas.microsoft.com/office/drawing/2014/main" id="{46B9E842-98DC-420B-B5F0-EEDD10795C66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1" name="Triangle 1">
                <a:extLst>
                  <a:ext uri="{FF2B5EF4-FFF2-40B4-BE49-F238E27FC236}">
                    <a16:creationId xmlns:a16="http://schemas.microsoft.com/office/drawing/2014/main" id="{B5C287C0-55F0-4CBC-ACBB-16A06AD22A9B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2" name="Circle">
                <a:extLst>
                  <a:ext uri="{FF2B5EF4-FFF2-40B4-BE49-F238E27FC236}">
                    <a16:creationId xmlns:a16="http://schemas.microsoft.com/office/drawing/2014/main" id="{53E382DB-5871-489F-9542-01493D96136C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49" name="Item Button">
              <a:extLst>
                <a:ext uri="{FF2B5EF4-FFF2-40B4-BE49-F238E27FC236}">
                  <a16:creationId xmlns:a16="http://schemas.microsoft.com/office/drawing/2014/main" id="{5CF3619D-5ECC-47B5-BDDC-F3A156C97FC7}"/>
                </a:ext>
              </a:extLst>
            </p:cNvPr>
            <p:cNvSpPr/>
            <p:nvPr/>
          </p:nvSpPr>
          <p:spPr>
            <a:xfrm>
              <a:off x="8253051" y="10201083"/>
              <a:ext cx="699238" cy="135741"/>
            </a:xfrm>
            <a:custGeom>
              <a:avLst/>
              <a:gdLst>
                <a:gd name="connsiteX0" fmla="*/ 0 w 699238"/>
                <a:gd name="connsiteY0" fmla="*/ 10671 h 135741"/>
                <a:gd name="connsiteX1" fmla="*/ 10671 w 699238"/>
                <a:gd name="connsiteY1" fmla="*/ 0 h 135741"/>
                <a:gd name="connsiteX2" fmla="*/ 688567 w 699238"/>
                <a:gd name="connsiteY2" fmla="*/ 0 h 135741"/>
                <a:gd name="connsiteX3" fmla="*/ 699238 w 699238"/>
                <a:gd name="connsiteY3" fmla="*/ 10671 h 135741"/>
                <a:gd name="connsiteX4" fmla="*/ 699238 w 699238"/>
                <a:gd name="connsiteY4" fmla="*/ 125070 h 135741"/>
                <a:gd name="connsiteX5" fmla="*/ 688567 w 699238"/>
                <a:gd name="connsiteY5" fmla="*/ 135741 h 135741"/>
                <a:gd name="connsiteX6" fmla="*/ 10671 w 699238"/>
                <a:gd name="connsiteY6" fmla="*/ 135741 h 135741"/>
                <a:gd name="connsiteX7" fmla="*/ 0 w 699238"/>
                <a:gd name="connsiteY7" fmla="*/ 125070 h 135741"/>
                <a:gd name="connsiteX8" fmla="*/ 0 w 699238"/>
                <a:gd name="connsiteY8" fmla="*/ 10671 h 13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9238" h="135741" fill="none" extrusionOk="0">
                  <a:moveTo>
                    <a:pt x="0" y="10671"/>
                  </a:moveTo>
                  <a:cubicBezTo>
                    <a:pt x="135" y="4978"/>
                    <a:pt x="4907" y="1340"/>
                    <a:pt x="10671" y="0"/>
                  </a:cubicBezTo>
                  <a:cubicBezTo>
                    <a:pt x="186250" y="-6833"/>
                    <a:pt x="371195" y="31388"/>
                    <a:pt x="688567" y="0"/>
                  </a:cubicBezTo>
                  <a:cubicBezTo>
                    <a:pt x="695319" y="-1066"/>
                    <a:pt x="698894" y="4645"/>
                    <a:pt x="699238" y="10671"/>
                  </a:cubicBezTo>
                  <a:cubicBezTo>
                    <a:pt x="701966" y="55288"/>
                    <a:pt x="695867" y="79824"/>
                    <a:pt x="699238" y="125070"/>
                  </a:cubicBezTo>
                  <a:cubicBezTo>
                    <a:pt x="698659" y="129782"/>
                    <a:pt x="694526" y="134849"/>
                    <a:pt x="688567" y="135741"/>
                  </a:cubicBezTo>
                  <a:cubicBezTo>
                    <a:pt x="526504" y="165813"/>
                    <a:pt x="313239" y="140010"/>
                    <a:pt x="10671" y="135741"/>
                  </a:cubicBezTo>
                  <a:cubicBezTo>
                    <a:pt x="3837" y="135780"/>
                    <a:pt x="348" y="130336"/>
                    <a:pt x="0" y="125070"/>
                  </a:cubicBezTo>
                  <a:cubicBezTo>
                    <a:pt x="3770" y="85222"/>
                    <a:pt x="2011" y="66283"/>
                    <a:pt x="0" y="10671"/>
                  </a:cubicBezTo>
                  <a:close/>
                </a:path>
                <a:path w="699238" h="135741" stroke="0" extrusionOk="0">
                  <a:moveTo>
                    <a:pt x="0" y="10671"/>
                  </a:moveTo>
                  <a:cubicBezTo>
                    <a:pt x="-423" y="4517"/>
                    <a:pt x="4370" y="153"/>
                    <a:pt x="10671" y="0"/>
                  </a:cubicBezTo>
                  <a:cubicBezTo>
                    <a:pt x="222782" y="8105"/>
                    <a:pt x="463596" y="4173"/>
                    <a:pt x="688567" y="0"/>
                  </a:cubicBezTo>
                  <a:cubicBezTo>
                    <a:pt x="694117" y="-261"/>
                    <a:pt x="699101" y="5060"/>
                    <a:pt x="699238" y="10671"/>
                  </a:cubicBezTo>
                  <a:cubicBezTo>
                    <a:pt x="704590" y="65434"/>
                    <a:pt x="701865" y="74730"/>
                    <a:pt x="699238" y="125070"/>
                  </a:cubicBezTo>
                  <a:cubicBezTo>
                    <a:pt x="699476" y="130473"/>
                    <a:pt x="693512" y="135596"/>
                    <a:pt x="688567" y="135741"/>
                  </a:cubicBezTo>
                  <a:cubicBezTo>
                    <a:pt x="473284" y="145032"/>
                    <a:pt x="288061" y="158973"/>
                    <a:pt x="10671" y="135741"/>
                  </a:cubicBezTo>
                  <a:cubicBezTo>
                    <a:pt x="4487" y="136222"/>
                    <a:pt x="-264" y="130657"/>
                    <a:pt x="0" y="125070"/>
                  </a:cubicBezTo>
                  <a:cubicBezTo>
                    <a:pt x="1574" y="80107"/>
                    <a:pt x="-1055" y="55927"/>
                    <a:pt x="0" y="10671"/>
                  </a:cubicBezTo>
                  <a:close/>
                </a:path>
              </a:pathLst>
            </a:custGeom>
            <a:solidFill>
              <a:srgbClr val="404040"/>
            </a:solidFill>
            <a:ln w="9525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7861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</a:rPr>
                <a:t>Button</a:t>
              </a:r>
            </a:p>
          </p:txBody>
        </p:sp>
      </p:grpSp>
      <p:grpSp>
        <p:nvGrpSpPr>
          <p:cNvPr id="450" name="Filled Picture Placeholder 1">
            <a:extLst>
              <a:ext uri="{FF2B5EF4-FFF2-40B4-BE49-F238E27FC236}">
                <a16:creationId xmlns:a16="http://schemas.microsoft.com/office/drawing/2014/main" id="{41BF92ED-3295-4696-83CB-79A5E6CB820C}"/>
              </a:ext>
            </a:extLst>
          </p:cNvPr>
          <p:cNvGrpSpPr/>
          <p:nvPr/>
        </p:nvGrpSpPr>
        <p:grpSpPr>
          <a:xfrm>
            <a:off x="8533923" y="4214944"/>
            <a:ext cx="777240" cy="1289304"/>
            <a:chOff x="11553797" y="7303446"/>
            <a:chExt cx="1081110" cy="1786324"/>
          </a:xfrm>
        </p:grpSpPr>
        <p:sp>
          <p:nvSpPr>
            <p:cNvPr id="542" name="Picture Placeholder Background">
              <a:extLst>
                <a:ext uri="{FF2B5EF4-FFF2-40B4-BE49-F238E27FC236}">
                  <a16:creationId xmlns:a16="http://schemas.microsoft.com/office/drawing/2014/main" id="{1D09B414-602B-447D-BA85-928B1071973C}"/>
                </a:ext>
              </a:extLst>
            </p:cNvPr>
            <p:cNvSpPr/>
            <p:nvPr/>
          </p:nvSpPr>
          <p:spPr>
            <a:xfrm>
              <a:off x="11553797" y="7303446"/>
              <a:ext cx="1081110" cy="1463919"/>
            </a:xfrm>
            <a:custGeom>
              <a:avLst/>
              <a:gdLst>
                <a:gd name="connsiteX0" fmla="*/ 0 w 1081110"/>
                <a:gd name="connsiteY0" fmla="*/ 10735 h 1463919"/>
                <a:gd name="connsiteX1" fmla="*/ 10735 w 1081110"/>
                <a:gd name="connsiteY1" fmla="*/ 0 h 1463919"/>
                <a:gd name="connsiteX2" fmla="*/ 551151 w 1081110"/>
                <a:gd name="connsiteY2" fmla="*/ 0 h 1463919"/>
                <a:gd name="connsiteX3" fmla="*/ 1070375 w 1081110"/>
                <a:gd name="connsiteY3" fmla="*/ 0 h 1463919"/>
                <a:gd name="connsiteX4" fmla="*/ 1081110 w 1081110"/>
                <a:gd name="connsiteY4" fmla="*/ 10735 h 1463919"/>
                <a:gd name="connsiteX5" fmla="*/ 1081110 w 1081110"/>
                <a:gd name="connsiteY5" fmla="*/ 477127 h 1463919"/>
                <a:gd name="connsiteX6" fmla="*/ 1081110 w 1081110"/>
                <a:gd name="connsiteY6" fmla="*/ 957943 h 1463919"/>
                <a:gd name="connsiteX7" fmla="*/ 1081110 w 1081110"/>
                <a:gd name="connsiteY7" fmla="*/ 1453184 h 1463919"/>
                <a:gd name="connsiteX8" fmla="*/ 1070375 w 1081110"/>
                <a:gd name="connsiteY8" fmla="*/ 1463919 h 1463919"/>
                <a:gd name="connsiteX9" fmla="*/ 519362 w 1081110"/>
                <a:gd name="connsiteY9" fmla="*/ 1463919 h 1463919"/>
                <a:gd name="connsiteX10" fmla="*/ 10735 w 1081110"/>
                <a:gd name="connsiteY10" fmla="*/ 1463919 h 1463919"/>
                <a:gd name="connsiteX11" fmla="*/ 0 w 1081110"/>
                <a:gd name="connsiteY11" fmla="*/ 1453184 h 1463919"/>
                <a:gd name="connsiteX12" fmla="*/ 0 w 1081110"/>
                <a:gd name="connsiteY12" fmla="*/ 943519 h 1463919"/>
                <a:gd name="connsiteX13" fmla="*/ 0 w 1081110"/>
                <a:gd name="connsiteY13" fmla="*/ 448278 h 1463919"/>
                <a:gd name="connsiteX14" fmla="*/ 0 w 1081110"/>
                <a:gd name="connsiteY14" fmla="*/ 10735 h 1463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1110" h="1463919" fill="none" extrusionOk="0">
                  <a:moveTo>
                    <a:pt x="0" y="10735"/>
                  </a:moveTo>
                  <a:cubicBezTo>
                    <a:pt x="-529" y="3727"/>
                    <a:pt x="4901" y="-1288"/>
                    <a:pt x="10735" y="0"/>
                  </a:cubicBezTo>
                  <a:cubicBezTo>
                    <a:pt x="241377" y="6514"/>
                    <a:pt x="430835" y="26627"/>
                    <a:pt x="551151" y="0"/>
                  </a:cubicBezTo>
                  <a:cubicBezTo>
                    <a:pt x="671467" y="-26627"/>
                    <a:pt x="834557" y="13711"/>
                    <a:pt x="1070375" y="0"/>
                  </a:cubicBezTo>
                  <a:cubicBezTo>
                    <a:pt x="1076737" y="-257"/>
                    <a:pt x="1080707" y="5445"/>
                    <a:pt x="1081110" y="10735"/>
                  </a:cubicBezTo>
                  <a:cubicBezTo>
                    <a:pt x="1103418" y="243387"/>
                    <a:pt x="1075059" y="275488"/>
                    <a:pt x="1081110" y="477127"/>
                  </a:cubicBezTo>
                  <a:cubicBezTo>
                    <a:pt x="1087161" y="678766"/>
                    <a:pt x="1058954" y="767446"/>
                    <a:pt x="1081110" y="957943"/>
                  </a:cubicBezTo>
                  <a:cubicBezTo>
                    <a:pt x="1103266" y="1148440"/>
                    <a:pt x="1060754" y="1214300"/>
                    <a:pt x="1081110" y="1453184"/>
                  </a:cubicBezTo>
                  <a:cubicBezTo>
                    <a:pt x="1081216" y="1458786"/>
                    <a:pt x="1076704" y="1464352"/>
                    <a:pt x="1070375" y="1463919"/>
                  </a:cubicBezTo>
                  <a:cubicBezTo>
                    <a:pt x="869130" y="1471568"/>
                    <a:pt x="735880" y="1444395"/>
                    <a:pt x="519362" y="1463919"/>
                  </a:cubicBezTo>
                  <a:cubicBezTo>
                    <a:pt x="302844" y="1483443"/>
                    <a:pt x="232590" y="1467185"/>
                    <a:pt x="10735" y="1463919"/>
                  </a:cubicBezTo>
                  <a:cubicBezTo>
                    <a:pt x="5656" y="1463733"/>
                    <a:pt x="803" y="1459775"/>
                    <a:pt x="0" y="1453184"/>
                  </a:cubicBezTo>
                  <a:cubicBezTo>
                    <a:pt x="-13862" y="1253078"/>
                    <a:pt x="-1573" y="1094970"/>
                    <a:pt x="0" y="943519"/>
                  </a:cubicBezTo>
                  <a:cubicBezTo>
                    <a:pt x="1573" y="792069"/>
                    <a:pt x="-8756" y="589972"/>
                    <a:pt x="0" y="448278"/>
                  </a:cubicBezTo>
                  <a:cubicBezTo>
                    <a:pt x="8756" y="306584"/>
                    <a:pt x="16942" y="203493"/>
                    <a:pt x="0" y="10735"/>
                  </a:cubicBezTo>
                  <a:close/>
                </a:path>
                <a:path w="1081110" h="1463919" stroke="0" extrusionOk="0">
                  <a:moveTo>
                    <a:pt x="0" y="10735"/>
                  </a:moveTo>
                  <a:cubicBezTo>
                    <a:pt x="-648" y="4407"/>
                    <a:pt x="4088" y="269"/>
                    <a:pt x="10735" y="0"/>
                  </a:cubicBezTo>
                  <a:cubicBezTo>
                    <a:pt x="155977" y="1475"/>
                    <a:pt x="291149" y="-1039"/>
                    <a:pt x="561748" y="0"/>
                  </a:cubicBezTo>
                  <a:cubicBezTo>
                    <a:pt x="832347" y="1039"/>
                    <a:pt x="821597" y="2055"/>
                    <a:pt x="1070375" y="0"/>
                  </a:cubicBezTo>
                  <a:cubicBezTo>
                    <a:pt x="1075057" y="-682"/>
                    <a:pt x="1082135" y="5296"/>
                    <a:pt x="1081110" y="10735"/>
                  </a:cubicBezTo>
                  <a:cubicBezTo>
                    <a:pt x="1102682" y="196370"/>
                    <a:pt x="1100995" y="244469"/>
                    <a:pt x="1081110" y="462702"/>
                  </a:cubicBezTo>
                  <a:cubicBezTo>
                    <a:pt x="1061225" y="680935"/>
                    <a:pt x="1104184" y="825039"/>
                    <a:pt x="1081110" y="972368"/>
                  </a:cubicBezTo>
                  <a:cubicBezTo>
                    <a:pt x="1058036" y="1119697"/>
                    <a:pt x="1070112" y="1275591"/>
                    <a:pt x="1081110" y="1453184"/>
                  </a:cubicBezTo>
                  <a:cubicBezTo>
                    <a:pt x="1080861" y="1459525"/>
                    <a:pt x="1075981" y="1463545"/>
                    <a:pt x="1070375" y="1463919"/>
                  </a:cubicBezTo>
                  <a:cubicBezTo>
                    <a:pt x="961212" y="1484447"/>
                    <a:pt x="805470" y="1461673"/>
                    <a:pt x="561748" y="1463919"/>
                  </a:cubicBezTo>
                  <a:cubicBezTo>
                    <a:pt x="318026" y="1466165"/>
                    <a:pt x="129692" y="1490497"/>
                    <a:pt x="10735" y="1463919"/>
                  </a:cubicBezTo>
                  <a:cubicBezTo>
                    <a:pt x="5299" y="1463431"/>
                    <a:pt x="782" y="1458609"/>
                    <a:pt x="0" y="1453184"/>
                  </a:cubicBezTo>
                  <a:cubicBezTo>
                    <a:pt x="-8936" y="1353529"/>
                    <a:pt x="-7853" y="1144573"/>
                    <a:pt x="0" y="972368"/>
                  </a:cubicBezTo>
                  <a:cubicBezTo>
                    <a:pt x="7853" y="800163"/>
                    <a:pt x="-9920" y="670829"/>
                    <a:pt x="0" y="520400"/>
                  </a:cubicBezTo>
                  <a:cubicBezTo>
                    <a:pt x="9920" y="369971"/>
                    <a:pt x="16490" y="197423"/>
                    <a:pt x="0" y="107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993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3" name="Text Placeholder">
              <a:extLst>
                <a:ext uri="{FF2B5EF4-FFF2-40B4-BE49-F238E27FC236}">
                  <a16:creationId xmlns:a16="http://schemas.microsoft.com/office/drawing/2014/main" id="{E2726924-7CC5-4D69-9669-429E10EEFCD6}"/>
                </a:ext>
              </a:extLst>
            </p:cNvPr>
            <p:cNvSpPr txBox="1"/>
            <p:nvPr/>
          </p:nvSpPr>
          <p:spPr>
            <a:xfrm>
              <a:off x="11598329" y="8835854"/>
              <a:ext cx="984832" cy="253916"/>
            </a:xfrm>
            <a:prstGeom prst="rect">
              <a:avLst/>
            </a:prstGeom>
            <a:noFill/>
          </p:spPr>
          <p:txBody>
            <a:bodyPr wrap="square" lIns="0" tIns="0" rtlCol="0">
              <a:spAutoFit/>
            </a:bodyPr>
            <a:lstStyle/>
            <a:p>
              <a:r>
                <a:rPr lang="en-US" sz="7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r>
                <a:rPr lang="en-US" sz="6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pic>
          <p:nvPicPr>
            <p:cNvPr id="544" name="Person Icon" descr="User">
              <a:extLst>
                <a:ext uri="{FF2B5EF4-FFF2-40B4-BE49-F238E27FC236}">
                  <a16:creationId xmlns:a16="http://schemas.microsoft.com/office/drawing/2014/main" id="{8A2E8951-BAC5-4EB4-B23E-C7C7CF91DC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2349" y="7775617"/>
              <a:ext cx="575361" cy="575361"/>
            </a:xfrm>
            <a:prstGeom prst="rect">
              <a:avLst/>
            </a:prstGeom>
          </p:spPr>
        </p:pic>
      </p:grpSp>
      <p:grpSp>
        <p:nvGrpSpPr>
          <p:cNvPr id="456" name="Slideshow 2">
            <a:extLst>
              <a:ext uri="{FF2B5EF4-FFF2-40B4-BE49-F238E27FC236}">
                <a16:creationId xmlns:a16="http://schemas.microsoft.com/office/drawing/2014/main" id="{76A33B3A-5757-4F05-92C1-BCDDC23F83C2}"/>
              </a:ext>
            </a:extLst>
          </p:cNvPr>
          <p:cNvGrpSpPr/>
          <p:nvPr/>
        </p:nvGrpSpPr>
        <p:grpSpPr>
          <a:xfrm>
            <a:off x="9689586" y="3272745"/>
            <a:ext cx="1115568" cy="649224"/>
            <a:chOff x="5893023" y="8073679"/>
            <a:chExt cx="1386502" cy="810007"/>
          </a:xfrm>
        </p:grpSpPr>
        <p:sp>
          <p:nvSpPr>
            <p:cNvPr id="488" name="Picture Placeholder">
              <a:extLst>
                <a:ext uri="{FF2B5EF4-FFF2-40B4-BE49-F238E27FC236}">
                  <a16:creationId xmlns:a16="http://schemas.microsoft.com/office/drawing/2014/main" id="{D5FE5637-02DB-4D61-91DA-A2350B566E2F}"/>
                </a:ext>
              </a:extLst>
            </p:cNvPr>
            <p:cNvSpPr/>
            <p:nvPr/>
          </p:nvSpPr>
          <p:spPr>
            <a:xfrm>
              <a:off x="6010200" y="8073679"/>
              <a:ext cx="1151257" cy="693631"/>
            </a:xfrm>
            <a:custGeom>
              <a:avLst/>
              <a:gdLst>
                <a:gd name="connsiteX0" fmla="*/ 0 w 1151257"/>
                <a:gd name="connsiteY0" fmla="*/ 8566 h 693631"/>
                <a:gd name="connsiteX1" fmla="*/ 8566 w 1151257"/>
                <a:gd name="connsiteY1" fmla="*/ 0 h 693631"/>
                <a:gd name="connsiteX2" fmla="*/ 575629 w 1151257"/>
                <a:gd name="connsiteY2" fmla="*/ 0 h 693631"/>
                <a:gd name="connsiteX3" fmla="*/ 1142691 w 1151257"/>
                <a:gd name="connsiteY3" fmla="*/ 0 h 693631"/>
                <a:gd name="connsiteX4" fmla="*/ 1151257 w 1151257"/>
                <a:gd name="connsiteY4" fmla="*/ 8566 h 693631"/>
                <a:gd name="connsiteX5" fmla="*/ 1151257 w 1151257"/>
                <a:gd name="connsiteY5" fmla="*/ 685065 h 693631"/>
                <a:gd name="connsiteX6" fmla="*/ 1142691 w 1151257"/>
                <a:gd name="connsiteY6" fmla="*/ 693631 h 693631"/>
                <a:gd name="connsiteX7" fmla="*/ 575629 w 1151257"/>
                <a:gd name="connsiteY7" fmla="*/ 693631 h 693631"/>
                <a:gd name="connsiteX8" fmla="*/ 8566 w 1151257"/>
                <a:gd name="connsiteY8" fmla="*/ 693631 h 693631"/>
                <a:gd name="connsiteX9" fmla="*/ 0 w 1151257"/>
                <a:gd name="connsiteY9" fmla="*/ 685065 h 693631"/>
                <a:gd name="connsiteX10" fmla="*/ 0 w 1151257"/>
                <a:gd name="connsiteY10" fmla="*/ 8566 h 69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1257" h="693631" fill="none" extrusionOk="0">
                  <a:moveTo>
                    <a:pt x="0" y="8566"/>
                  </a:moveTo>
                  <a:cubicBezTo>
                    <a:pt x="-36" y="4887"/>
                    <a:pt x="3623" y="-659"/>
                    <a:pt x="8566" y="0"/>
                  </a:cubicBezTo>
                  <a:cubicBezTo>
                    <a:pt x="186046" y="-16943"/>
                    <a:pt x="368094" y="-5391"/>
                    <a:pt x="575629" y="0"/>
                  </a:cubicBezTo>
                  <a:cubicBezTo>
                    <a:pt x="783164" y="5391"/>
                    <a:pt x="920423" y="2511"/>
                    <a:pt x="1142691" y="0"/>
                  </a:cubicBezTo>
                  <a:cubicBezTo>
                    <a:pt x="1147220" y="-581"/>
                    <a:pt x="1150710" y="3366"/>
                    <a:pt x="1151257" y="8566"/>
                  </a:cubicBezTo>
                  <a:cubicBezTo>
                    <a:pt x="1128845" y="259583"/>
                    <a:pt x="1157500" y="370812"/>
                    <a:pt x="1151257" y="685065"/>
                  </a:cubicBezTo>
                  <a:cubicBezTo>
                    <a:pt x="1150784" y="689983"/>
                    <a:pt x="1147634" y="693706"/>
                    <a:pt x="1142691" y="693631"/>
                  </a:cubicBezTo>
                  <a:cubicBezTo>
                    <a:pt x="994800" y="688769"/>
                    <a:pt x="782448" y="688515"/>
                    <a:pt x="575629" y="693631"/>
                  </a:cubicBezTo>
                  <a:cubicBezTo>
                    <a:pt x="368810" y="698747"/>
                    <a:pt x="140179" y="711413"/>
                    <a:pt x="8566" y="693631"/>
                  </a:cubicBezTo>
                  <a:cubicBezTo>
                    <a:pt x="4027" y="693603"/>
                    <a:pt x="-774" y="690568"/>
                    <a:pt x="0" y="685065"/>
                  </a:cubicBezTo>
                  <a:cubicBezTo>
                    <a:pt x="11694" y="525555"/>
                    <a:pt x="-23241" y="296769"/>
                    <a:pt x="0" y="8566"/>
                  </a:cubicBezTo>
                  <a:close/>
                </a:path>
                <a:path w="1151257" h="693631" stroke="0" extrusionOk="0">
                  <a:moveTo>
                    <a:pt x="0" y="8566"/>
                  </a:moveTo>
                  <a:cubicBezTo>
                    <a:pt x="-26" y="3447"/>
                    <a:pt x="4165" y="-1006"/>
                    <a:pt x="8566" y="0"/>
                  </a:cubicBezTo>
                  <a:cubicBezTo>
                    <a:pt x="276857" y="-6123"/>
                    <a:pt x="415430" y="-11985"/>
                    <a:pt x="552946" y="0"/>
                  </a:cubicBezTo>
                  <a:cubicBezTo>
                    <a:pt x="690462" y="11985"/>
                    <a:pt x="992726" y="-15838"/>
                    <a:pt x="1142691" y="0"/>
                  </a:cubicBezTo>
                  <a:cubicBezTo>
                    <a:pt x="1147713" y="534"/>
                    <a:pt x="1151253" y="4473"/>
                    <a:pt x="1151257" y="8566"/>
                  </a:cubicBezTo>
                  <a:cubicBezTo>
                    <a:pt x="1124035" y="234463"/>
                    <a:pt x="1184467" y="504806"/>
                    <a:pt x="1151257" y="685065"/>
                  </a:cubicBezTo>
                  <a:cubicBezTo>
                    <a:pt x="1150985" y="689330"/>
                    <a:pt x="1147549" y="693497"/>
                    <a:pt x="1142691" y="693631"/>
                  </a:cubicBezTo>
                  <a:cubicBezTo>
                    <a:pt x="880247" y="694259"/>
                    <a:pt x="868694" y="705211"/>
                    <a:pt x="598311" y="693631"/>
                  </a:cubicBezTo>
                  <a:cubicBezTo>
                    <a:pt x="327928" y="682051"/>
                    <a:pt x="141152" y="705037"/>
                    <a:pt x="8566" y="693631"/>
                  </a:cubicBezTo>
                  <a:cubicBezTo>
                    <a:pt x="4556" y="693793"/>
                    <a:pt x="-472" y="690200"/>
                    <a:pt x="0" y="685065"/>
                  </a:cubicBezTo>
                  <a:cubicBezTo>
                    <a:pt x="20394" y="420098"/>
                    <a:pt x="-31892" y="319217"/>
                    <a:pt x="0" y="85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89" name="Picture Placeholder Graphic">
              <a:extLst>
                <a:ext uri="{FF2B5EF4-FFF2-40B4-BE49-F238E27FC236}">
                  <a16:creationId xmlns:a16="http://schemas.microsoft.com/office/drawing/2014/main" id="{BAE9D15F-013E-4B30-8CE1-72F4C90ED722}"/>
                </a:ext>
              </a:extLst>
            </p:cNvPr>
            <p:cNvGrpSpPr/>
            <p:nvPr/>
          </p:nvGrpSpPr>
          <p:grpSpPr>
            <a:xfrm>
              <a:off x="6274343" y="8262776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502" name="Triangle 2">
                <a:extLst>
                  <a:ext uri="{FF2B5EF4-FFF2-40B4-BE49-F238E27FC236}">
                    <a16:creationId xmlns:a16="http://schemas.microsoft.com/office/drawing/2014/main" id="{17BBCD6E-2211-4FDB-864D-4014271C2B8E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4" name="Triangle 1">
                <a:extLst>
                  <a:ext uri="{FF2B5EF4-FFF2-40B4-BE49-F238E27FC236}">
                    <a16:creationId xmlns:a16="http://schemas.microsoft.com/office/drawing/2014/main" id="{2B657A63-8E42-44F7-BEE3-F81A06D49810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5" name="Circle">
                <a:extLst>
                  <a:ext uri="{FF2B5EF4-FFF2-40B4-BE49-F238E27FC236}">
                    <a16:creationId xmlns:a16="http://schemas.microsoft.com/office/drawing/2014/main" id="{BE775371-A97D-478F-A23B-97D93BEC8399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90" name="Right Arrow">
              <a:extLst>
                <a:ext uri="{FF2B5EF4-FFF2-40B4-BE49-F238E27FC236}">
                  <a16:creationId xmlns:a16="http://schemas.microsoft.com/office/drawing/2014/main" id="{3CC3D017-44CE-4986-B12F-12CA2CAAE354}"/>
                </a:ext>
              </a:extLst>
            </p:cNvPr>
            <p:cNvGrpSpPr/>
            <p:nvPr/>
          </p:nvGrpSpPr>
          <p:grpSpPr>
            <a:xfrm rot="13229624">
              <a:off x="7213694" y="8390293"/>
              <a:ext cx="65831" cy="65841"/>
              <a:chOff x="1480962" y="3194958"/>
              <a:chExt cx="182923" cy="191607"/>
            </a:xfrm>
          </p:grpSpPr>
          <p:cxnSp>
            <p:nvCxnSpPr>
              <p:cNvPr id="500" name="Line 2">
                <a:extLst>
                  <a:ext uri="{FF2B5EF4-FFF2-40B4-BE49-F238E27FC236}">
                    <a16:creationId xmlns:a16="http://schemas.microsoft.com/office/drawing/2014/main" id="{6041FD6A-6AF3-4300-9C58-D8EEF514559F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58" y="3276838"/>
                <a:ext cx="109727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1" name="Line 1">
                <a:extLst>
                  <a:ext uri="{FF2B5EF4-FFF2-40B4-BE49-F238E27FC236}">
                    <a16:creationId xmlns:a16="http://schemas.microsoft.com/office/drawing/2014/main" id="{C2CC8DA6-17E5-41D4-9BE4-56C3A827168A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62" y="3194958"/>
                <a:ext cx="109725" cy="109725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1" name="Left Arrow">
              <a:extLst>
                <a:ext uri="{FF2B5EF4-FFF2-40B4-BE49-F238E27FC236}">
                  <a16:creationId xmlns:a16="http://schemas.microsoft.com/office/drawing/2014/main" id="{0C85A69E-31DE-4797-883B-1B25BD82A4BA}"/>
                </a:ext>
              </a:extLst>
            </p:cNvPr>
            <p:cNvGrpSpPr/>
            <p:nvPr/>
          </p:nvGrpSpPr>
          <p:grpSpPr>
            <a:xfrm rot="8370376" flipH="1">
              <a:off x="5893023" y="8388223"/>
              <a:ext cx="65831" cy="65837"/>
              <a:chOff x="1480955" y="3194964"/>
              <a:chExt cx="182924" cy="191600"/>
            </a:xfrm>
          </p:grpSpPr>
          <p:cxnSp>
            <p:nvCxnSpPr>
              <p:cNvPr id="498" name="Line 2">
                <a:extLst>
                  <a:ext uri="{FF2B5EF4-FFF2-40B4-BE49-F238E27FC236}">
                    <a16:creationId xmlns:a16="http://schemas.microsoft.com/office/drawing/2014/main" id="{BAFA95D6-27B1-49A6-AAB9-92A1138D6F26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9" name="Line 1">
                <a:extLst>
                  <a:ext uri="{FF2B5EF4-FFF2-40B4-BE49-F238E27FC236}">
                    <a16:creationId xmlns:a16="http://schemas.microsoft.com/office/drawing/2014/main" id="{D35084BC-12E1-454D-9EEF-A81142EB9BD5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2" name="Slideshow Options">
              <a:extLst>
                <a:ext uri="{FF2B5EF4-FFF2-40B4-BE49-F238E27FC236}">
                  <a16:creationId xmlns:a16="http://schemas.microsoft.com/office/drawing/2014/main" id="{230A8154-36BC-45CE-BFA6-16D993E469A3}"/>
                </a:ext>
              </a:extLst>
            </p:cNvPr>
            <p:cNvGrpSpPr/>
            <p:nvPr/>
          </p:nvGrpSpPr>
          <p:grpSpPr>
            <a:xfrm>
              <a:off x="6432814" y="8841399"/>
              <a:ext cx="315468" cy="42287"/>
              <a:chOff x="4681370" y="10451274"/>
              <a:chExt cx="350636" cy="47002"/>
            </a:xfrm>
          </p:grpSpPr>
          <p:sp>
            <p:nvSpPr>
              <p:cNvPr id="493" name="Circle">
                <a:extLst>
                  <a:ext uri="{FF2B5EF4-FFF2-40B4-BE49-F238E27FC236}">
                    <a16:creationId xmlns:a16="http://schemas.microsoft.com/office/drawing/2014/main" id="{339F5FE9-A3FB-4A29-AA71-E60FF399193F}"/>
                  </a:ext>
                </a:extLst>
              </p:cNvPr>
              <p:cNvSpPr/>
              <p:nvPr/>
            </p:nvSpPr>
            <p:spPr>
              <a:xfrm>
                <a:off x="4985226" y="1045146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extrusionOk="0">
                    <a:moveTo>
                      <a:pt x="0" y="23390"/>
                    </a:moveTo>
                    <a:cubicBezTo>
                      <a:pt x="-886" y="9925"/>
                      <a:pt x="9464" y="378"/>
                      <a:pt x="23390" y="0"/>
                    </a:cubicBezTo>
                    <a:cubicBezTo>
                      <a:pt x="38435" y="448"/>
                      <a:pt x="44510" y="10544"/>
                      <a:pt x="46780" y="23390"/>
                    </a:cubicBezTo>
                    <a:cubicBezTo>
                      <a:pt x="45034" y="38013"/>
                      <a:pt x="35944" y="48794"/>
                      <a:pt x="23390" y="46780"/>
                    </a:cubicBezTo>
                    <a:cubicBezTo>
                      <a:pt x="8622" y="45768"/>
                      <a:pt x="1338" y="36947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4" name="Circle">
                <a:extLst>
                  <a:ext uri="{FF2B5EF4-FFF2-40B4-BE49-F238E27FC236}">
                    <a16:creationId xmlns:a16="http://schemas.microsoft.com/office/drawing/2014/main" id="{91CBA521-9F1D-4A88-B780-5CC392086A90}"/>
                  </a:ext>
                </a:extLst>
              </p:cNvPr>
              <p:cNvSpPr/>
              <p:nvPr/>
            </p:nvSpPr>
            <p:spPr>
              <a:xfrm>
                <a:off x="4909855" y="10451274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-348" y="10488"/>
                      <a:pt x="11055" y="573"/>
                      <a:pt x="23390" y="0"/>
                    </a:cubicBezTo>
                    <a:cubicBezTo>
                      <a:pt x="37219" y="1869"/>
                      <a:pt x="46829" y="11973"/>
                      <a:pt x="46780" y="23391"/>
                    </a:cubicBezTo>
                    <a:cubicBezTo>
                      <a:pt x="46347" y="35656"/>
                      <a:pt x="36751" y="47318"/>
                      <a:pt x="23390" y="46782"/>
                    </a:cubicBezTo>
                    <a:cubicBezTo>
                      <a:pt x="10804" y="45549"/>
                      <a:pt x="752" y="37710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5" name="Circle">
                <a:extLst>
                  <a:ext uri="{FF2B5EF4-FFF2-40B4-BE49-F238E27FC236}">
                    <a16:creationId xmlns:a16="http://schemas.microsoft.com/office/drawing/2014/main" id="{73AE57CB-B451-494F-8191-1C5A505ED465}"/>
                  </a:ext>
                </a:extLst>
              </p:cNvPr>
              <p:cNvSpPr/>
              <p:nvPr/>
            </p:nvSpPr>
            <p:spPr>
              <a:xfrm>
                <a:off x="4834488" y="10451342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114" y="9613"/>
                      <a:pt x="12313" y="1483"/>
                      <a:pt x="23390" y="0"/>
                    </a:cubicBezTo>
                    <a:cubicBezTo>
                      <a:pt x="35322" y="-373"/>
                      <a:pt x="47235" y="8876"/>
                      <a:pt x="46780" y="23391"/>
                    </a:cubicBezTo>
                    <a:cubicBezTo>
                      <a:pt x="47961" y="35529"/>
                      <a:pt x="35600" y="48586"/>
                      <a:pt x="23390" y="46782"/>
                    </a:cubicBezTo>
                    <a:cubicBezTo>
                      <a:pt x="10409" y="46987"/>
                      <a:pt x="835" y="35575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26649898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6" name="Circle">
                <a:extLst>
                  <a:ext uri="{FF2B5EF4-FFF2-40B4-BE49-F238E27FC236}">
                    <a16:creationId xmlns:a16="http://schemas.microsoft.com/office/drawing/2014/main" id="{1E212660-3C2A-427F-9E72-9A24D44817B7}"/>
                  </a:ext>
                </a:extLst>
              </p:cNvPr>
              <p:cNvSpPr/>
              <p:nvPr/>
            </p:nvSpPr>
            <p:spPr>
              <a:xfrm>
                <a:off x="475912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extrusionOk="0">
                    <a:moveTo>
                      <a:pt x="0" y="23390"/>
                    </a:moveTo>
                    <a:cubicBezTo>
                      <a:pt x="-1212" y="9047"/>
                      <a:pt x="11175" y="-255"/>
                      <a:pt x="23390" y="0"/>
                    </a:cubicBezTo>
                    <a:cubicBezTo>
                      <a:pt x="34841" y="824"/>
                      <a:pt x="48750" y="9884"/>
                      <a:pt x="46780" y="23390"/>
                    </a:cubicBezTo>
                    <a:cubicBezTo>
                      <a:pt x="46279" y="35310"/>
                      <a:pt x="35908" y="48026"/>
                      <a:pt x="23390" y="46780"/>
                    </a:cubicBezTo>
                    <a:cubicBezTo>
                      <a:pt x="11139" y="45861"/>
                      <a:pt x="947" y="36230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87924873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7" name="Filled Circle">
                <a:extLst>
                  <a:ext uri="{FF2B5EF4-FFF2-40B4-BE49-F238E27FC236}">
                    <a16:creationId xmlns:a16="http://schemas.microsoft.com/office/drawing/2014/main" id="{5639C286-B35F-4B5C-A2BA-4771733A1C2C}"/>
                  </a:ext>
                </a:extLst>
              </p:cNvPr>
              <p:cNvSpPr/>
              <p:nvPr/>
            </p:nvSpPr>
            <p:spPr>
              <a:xfrm>
                <a:off x="468137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fill="none" extrusionOk="0">
                    <a:moveTo>
                      <a:pt x="0" y="23390"/>
                    </a:moveTo>
                    <a:cubicBezTo>
                      <a:pt x="8" y="8503"/>
                      <a:pt x="8523" y="-671"/>
                      <a:pt x="23390" y="0"/>
                    </a:cubicBezTo>
                    <a:cubicBezTo>
                      <a:pt x="37598" y="1296"/>
                      <a:pt x="45591" y="8960"/>
                      <a:pt x="46780" y="23390"/>
                    </a:cubicBezTo>
                    <a:cubicBezTo>
                      <a:pt x="47615" y="34113"/>
                      <a:pt x="37153" y="47007"/>
                      <a:pt x="23390" y="46780"/>
                    </a:cubicBezTo>
                    <a:cubicBezTo>
                      <a:pt x="10194" y="45197"/>
                      <a:pt x="-637" y="35071"/>
                      <a:pt x="0" y="23390"/>
                    </a:cubicBezTo>
                    <a:close/>
                  </a:path>
                  <a:path w="46780" h="46779" stroke="0" extrusionOk="0">
                    <a:moveTo>
                      <a:pt x="0" y="23390"/>
                    </a:moveTo>
                    <a:cubicBezTo>
                      <a:pt x="-230" y="9828"/>
                      <a:pt x="10446" y="-318"/>
                      <a:pt x="23390" y="0"/>
                    </a:cubicBezTo>
                    <a:cubicBezTo>
                      <a:pt x="35368" y="-228"/>
                      <a:pt x="45148" y="10779"/>
                      <a:pt x="46780" y="23390"/>
                    </a:cubicBezTo>
                    <a:cubicBezTo>
                      <a:pt x="47835" y="38540"/>
                      <a:pt x="38194" y="45997"/>
                      <a:pt x="23390" y="46780"/>
                    </a:cubicBezTo>
                    <a:cubicBezTo>
                      <a:pt x="13007" y="46900"/>
                      <a:pt x="99" y="37444"/>
                      <a:pt x="0" y="2339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4327539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57" name="Slideshow 1">
            <a:extLst>
              <a:ext uri="{FF2B5EF4-FFF2-40B4-BE49-F238E27FC236}">
                <a16:creationId xmlns:a16="http://schemas.microsoft.com/office/drawing/2014/main" id="{7B026F5D-42A0-4F4B-A102-23EC43088F62}"/>
              </a:ext>
            </a:extLst>
          </p:cNvPr>
          <p:cNvGrpSpPr/>
          <p:nvPr/>
        </p:nvGrpSpPr>
        <p:grpSpPr>
          <a:xfrm>
            <a:off x="8441484" y="3308611"/>
            <a:ext cx="1051560" cy="649224"/>
            <a:chOff x="4289540" y="8091440"/>
            <a:chExt cx="1310957" cy="810007"/>
          </a:xfrm>
        </p:grpSpPr>
        <p:sp>
          <p:nvSpPr>
            <p:cNvPr id="465" name="Picture Placeholder">
              <a:extLst>
                <a:ext uri="{FF2B5EF4-FFF2-40B4-BE49-F238E27FC236}">
                  <a16:creationId xmlns:a16="http://schemas.microsoft.com/office/drawing/2014/main" id="{867AA39A-F592-47CF-BBB4-B92D3425C971}"/>
                </a:ext>
              </a:extLst>
            </p:cNvPr>
            <p:cNvSpPr/>
            <p:nvPr/>
          </p:nvSpPr>
          <p:spPr>
            <a:xfrm>
              <a:off x="4364001" y="8091440"/>
              <a:ext cx="1151257" cy="693631"/>
            </a:xfrm>
            <a:custGeom>
              <a:avLst/>
              <a:gdLst>
                <a:gd name="connsiteX0" fmla="*/ 0 w 1151257"/>
                <a:gd name="connsiteY0" fmla="*/ 8566 h 693631"/>
                <a:gd name="connsiteX1" fmla="*/ 8566 w 1151257"/>
                <a:gd name="connsiteY1" fmla="*/ 0 h 693631"/>
                <a:gd name="connsiteX2" fmla="*/ 575629 w 1151257"/>
                <a:gd name="connsiteY2" fmla="*/ 0 h 693631"/>
                <a:gd name="connsiteX3" fmla="*/ 1142691 w 1151257"/>
                <a:gd name="connsiteY3" fmla="*/ 0 h 693631"/>
                <a:gd name="connsiteX4" fmla="*/ 1151257 w 1151257"/>
                <a:gd name="connsiteY4" fmla="*/ 8566 h 693631"/>
                <a:gd name="connsiteX5" fmla="*/ 1151257 w 1151257"/>
                <a:gd name="connsiteY5" fmla="*/ 685065 h 693631"/>
                <a:gd name="connsiteX6" fmla="*/ 1142691 w 1151257"/>
                <a:gd name="connsiteY6" fmla="*/ 693631 h 693631"/>
                <a:gd name="connsiteX7" fmla="*/ 575629 w 1151257"/>
                <a:gd name="connsiteY7" fmla="*/ 693631 h 693631"/>
                <a:gd name="connsiteX8" fmla="*/ 8566 w 1151257"/>
                <a:gd name="connsiteY8" fmla="*/ 693631 h 693631"/>
                <a:gd name="connsiteX9" fmla="*/ 0 w 1151257"/>
                <a:gd name="connsiteY9" fmla="*/ 685065 h 693631"/>
                <a:gd name="connsiteX10" fmla="*/ 0 w 1151257"/>
                <a:gd name="connsiteY10" fmla="*/ 8566 h 69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1257" h="693631" fill="none" extrusionOk="0">
                  <a:moveTo>
                    <a:pt x="0" y="8566"/>
                  </a:moveTo>
                  <a:cubicBezTo>
                    <a:pt x="-36" y="4887"/>
                    <a:pt x="3623" y="-659"/>
                    <a:pt x="8566" y="0"/>
                  </a:cubicBezTo>
                  <a:cubicBezTo>
                    <a:pt x="186046" y="-16943"/>
                    <a:pt x="368094" y="-5391"/>
                    <a:pt x="575629" y="0"/>
                  </a:cubicBezTo>
                  <a:cubicBezTo>
                    <a:pt x="783164" y="5391"/>
                    <a:pt x="920423" y="2511"/>
                    <a:pt x="1142691" y="0"/>
                  </a:cubicBezTo>
                  <a:cubicBezTo>
                    <a:pt x="1147220" y="-581"/>
                    <a:pt x="1150710" y="3366"/>
                    <a:pt x="1151257" y="8566"/>
                  </a:cubicBezTo>
                  <a:cubicBezTo>
                    <a:pt x="1128845" y="259583"/>
                    <a:pt x="1157500" y="370812"/>
                    <a:pt x="1151257" y="685065"/>
                  </a:cubicBezTo>
                  <a:cubicBezTo>
                    <a:pt x="1150784" y="689983"/>
                    <a:pt x="1147634" y="693706"/>
                    <a:pt x="1142691" y="693631"/>
                  </a:cubicBezTo>
                  <a:cubicBezTo>
                    <a:pt x="994800" y="688769"/>
                    <a:pt x="782448" y="688515"/>
                    <a:pt x="575629" y="693631"/>
                  </a:cubicBezTo>
                  <a:cubicBezTo>
                    <a:pt x="368810" y="698747"/>
                    <a:pt x="140179" y="711413"/>
                    <a:pt x="8566" y="693631"/>
                  </a:cubicBezTo>
                  <a:cubicBezTo>
                    <a:pt x="4027" y="693603"/>
                    <a:pt x="-774" y="690568"/>
                    <a:pt x="0" y="685065"/>
                  </a:cubicBezTo>
                  <a:cubicBezTo>
                    <a:pt x="11694" y="525555"/>
                    <a:pt x="-23241" y="296769"/>
                    <a:pt x="0" y="8566"/>
                  </a:cubicBezTo>
                  <a:close/>
                </a:path>
                <a:path w="1151257" h="693631" stroke="0" extrusionOk="0">
                  <a:moveTo>
                    <a:pt x="0" y="8566"/>
                  </a:moveTo>
                  <a:cubicBezTo>
                    <a:pt x="-26" y="3447"/>
                    <a:pt x="4165" y="-1006"/>
                    <a:pt x="8566" y="0"/>
                  </a:cubicBezTo>
                  <a:cubicBezTo>
                    <a:pt x="276857" y="-6123"/>
                    <a:pt x="415430" y="-11985"/>
                    <a:pt x="552946" y="0"/>
                  </a:cubicBezTo>
                  <a:cubicBezTo>
                    <a:pt x="690462" y="11985"/>
                    <a:pt x="992726" y="-15838"/>
                    <a:pt x="1142691" y="0"/>
                  </a:cubicBezTo>
                  <a:cubicBezTo>
                    <a:pt x="1147713" y="534"/>
                    <a:pt x="1151253" y="4473"/>
                    <a:pt x="1151257" y="8566"/>
                  </a:cubicBezTo>
                  <a:cubicBezTo>
                    <a:pt x="1124035" y="234463"/>
                    <a:pt x="1184467" y="504806"/>
                    <a:pt x="1151257" y="685065"/>
                  </a:cubicBezTo>
                  <a:cubicBezTo>
                    <a:pt x="1150985" y="689330"/>
                    <a:pt x="1147549" y="693497"/>
                    <a:pt x="1142691" y="693631"/>
                  </a:cubicBezTo>
                  <a:cubicBezTo>
                    <a:pt x="880247" y="694259"/>
                    <a:pt x="868694" y="705211"/>
                    <a:pt x="598311" y="693631"/>
                  </a:cubicBezTo>
                  <a:cubicBezTo>
                    <a:pt x="327928" y="682051"/>
                    <a:pt x="141152" y="705037"/>
                    <a:pt x="8566" y="693631"/>
                  </a:cubicBezTo>
                  <a:cubicBezTo>
                    <a:pt x="4556" y="693793"/>
                    <a:pt x="-472" y="690200"/>
                    <a:pt x="0" y="685065"/>
                  </a:cubicBezTo>
                  <a:cubicBezTo>
                    <a:pt x="20394" y="420098"/>
                    <a:pt x="-31892" y="319217"/>
                    <a:pt x="0" y="8566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66" name="Left Arrow">
              <a:extLst>
                <a:ext uri="{FF2B5EF4-FFF2-40B4-BE49-F238E27FC236}">
                  <a16:creationId xmlns:a16="http://schemas.microsoft.com/office/drawing/2014/main" id="{1581D3D0-3338-469B-B2FF-3D44D865E599}"/>
                </a:ext>
              </a:extLst>
            </p:cNvPr>
            <p:cNvGrpSpPr/>
            <p:nvPr/>
          </p:nvGrpSpPr>
          <p:grpSpPr>
            <a:xfrm>
              <a:off x="4289540" y="8374549"/>
              <a:ext cx="115082" cy="115082"/>
              <a:chOff x="4289540" y="8374549"/>
              <a:chExt cx="115082" cy="115082"/>
            </a:xfrm>
          </p:grpSpPr>
          <p:sp>
            <p:nvSpPr>
              <p:cNvPr id="484" name="Circle">
                <a:extLst>
                  <a:ext uri="{FF2B5EF4-FFF2-40B4-BE49-F238E27FC236}">
                    <a16:creationId xmlns:a16="http://schemas.microsoft.com/office/drawing/2014/main" id="{3E480C7E-0CF0-424B-BD84-A1037C9716D1}"/>
                  </a:ext>
                </a:extLst>
              </p:cNvPr>
              <p:cNvSpPr/>
              <p:nvPr/>
            </p:nvSpPr>
            <p:spPr>
              <a:xfrm flipH="1">
                <a:off x="4289540" y="8374549"/>
                <a:ext cx="115082" cy="115082"/>
              </a:xfrm>
              <a:custGeom>
                <a:avLst/>
                <a:gdLst>
                  <a:gd name="connsiteX0" fmla="*/ 0 w 115082"/>
                  <a:gd name="connsiteY0" fmla="*/ 57541 h 115082"/>
                  <a:gd name="connsiteX1" fmla="*/ 57541 w 115082"/>
                  <a:gd name="connsiteY1" fmla="*/ 0 h 115082"/>
                  <a:gd name="connsiteX2" fmla="*/ 115082 w 115082"/>
                  <a:gd name="connsiteY2" fmla="*/ 57541 h 115082"/>
                  <a:gd name="connsiteX3" fmla="*/ 57541 w 115082"/>
                  <a:gd name="connsiteY3" fmla="*/ 115082 h 115082"/>
                  <a:gd name="connsiteX4" fmla="*/ 0 w 115082"/>
                  <a:gd name="connsiteY4" fmla="*/ 57541 h 115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082" h="115082" fill="none" extrusionOk="0">
                    <a:moveTo>
                      <a:pt x="0" y="57541"/>
                    </a:moveTo>
                    <a:cubicBezTo>
                      <a:pt x="-2033" y="24939"/>
                      <a:pt x="28939" y="-3747"/>
                      <a:pt x="57541" y="0"/>
                    </a:cubicBezTo>
                    <a:cubicBezTo>
                      <a:pt x="89039" y="-1215"/>
                      <a:pt x="114697" y="22856"/>
                      <a:pt x="115082" y="57541"/>
                    </a:cubicBezTo>
                    <a:cubicBezTo>
                      <a:pt x="121642" y="89102"/>
                      <a:pt x="84404" y="115471"/>
                      <a:pt x="57541" y="115082"/>
                    </a:cubicBezTo>
                    <a:cubicBezTo>
                      <a:pt x="22807" y="122040"/>
                      <a:pt x="-3009" y="93825"/>
                      <a:pt x="0" y="57541"/>
                    </a:cubicBezTo>
                    <a:close/>
                  </a:path>
                  <a:path w="115082" h="115082" stroke="0" extrusionOk="0">
                    <a:moveTo>
                      <a:pt x="0" y="57541"/>
                    </a:moveTo>
                    <a:cubicBezTo>
                      <a:pt x="-6277" y="21217"/>
                      <a:pt x="29914" y="20"/>
                      <a:pt x="57541" y="0"/>
                    </a:cubicBezTo>
                    <a:cubicBezTo>
                      <a:pt x="87236" y="-7144"/>
                      <a:pt x="110465" y="22071"/>
                      <a:pt x="115082" y="57541"/>
                    </a:cubicBezTo>
                    <a:cubicBezTo>
                      <a:pt x="117759" y="87871"/>
                      <a:pt x="95910" y="116769"/>
                      <a:pt x="57541" y="115082"/>
                    </a:cubicBezTo>
                    <a:cubicBezTo>
                      <a:pt x="26721" y="115707"/>
                      <a:pt x="-130" y="81423"/>
                      <a:pt x="0" y="57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662386096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485" name="Left Arrow">
                <a:extLst>
                  <a:ext uri="{FF2B5EF4-FFF2-40B4-BE49-F238E27FC236}">
                    <a16:creationId xmlns:a16="http://schemas.microsoft.com/office/drawing/2014/main" id="{7E3F3F0C-B1E3-44EA-B253-86FFE0A7020C}"/>
                  </a:ext>
                </a:extLst>
              </p:cNvPr>
              <p:cNvGrpSpPr/>
              <p:nvPr/>
            </p:nvGrpSpPr>
            <p:grpSpPr>
              <a:xfrm rot="8370376" flipH="1">
                <a:off x="4323557" y="8412933"/>
                <a:ext cx="38358" cy="38363"/>
                <a:chOff x="1415260" y="3106129"/>
                <a:chExt cx="182860" cy="191535"/>
              </a:xfrm>
            </p:grpSpPr>
            <p:cxnSp>
              <p:nvCxnSpPr>
                <p:cNvPr id="486" name="Line 2">
                  <a:extLst>
                    <a:ext uri="{FF2B5EF4-FFF2-40B4-BE49-F238E27FC236}">
                      <a16:creationId xmlns:a16="http://schemas.microsoft.com/office/drawing/2014/main" id="{51C01F45-FDDB-479D-9636-50C5765FF93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8394" y="3187934"/>
                  <a:ext cx="109726" cy="109730"/>
                </a:xfrm>
                <a:prstGeom prst="line">
                  <a:avLst/>
                </a:prstGeom>
                <a:ln w="1270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7" name="Line 1">
                  <a:extLst>
                    <a:ext uri="{FF2B5EF4-FFF2-40B4-BE49-F238E27FC236}">
                      <a16:creationId xmlns:a16="http://schemas.microsoft.com/office/drawing/2014/main" id="{11CDA7DB-814D-4BCD-9CBA-4AFBBF31EA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5260" y="3106129"/>
                  <a:ext cx="109727" cy="109731"/>
                </a:xfrm>
                <a:prstGeom prst="line">
                  <a:avLst/>
                </a:prstGeom>
                <a:ln w="1270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67" name="Slideshow Options">
              <a:extLst>
                <a:ext uri="{FF2B5EF4-FFF2-40B4-BE49-F238E27FC236}">
                  <a16:creationId xmlns:a16="http://schemas.microsoft.com/office/drawing/2014/main" id="{BB97D2ED-281C-4E59-B290-52D2A4B8CD6B}"/>
                </a:ext>
              </a:extLst>
            </p:cNvPr>
            <p:cNvGrpSpPr/>
            <p:nvPr/>
          </p:nvGrpSpPr>
          <p:grpSpPr>
            <a:xfrm>
              <a:off x="4787200" y="8859359"/>
              <a:ext cx="315466" cy="42088"/>
              <a:chOff x="3121134" y="9682405"/>
              <a:chExt cx="350633" cy="46780"/>
            </a:xfrm>
          </p:grpSpPr>
          <p:sp>
            <p:nvSpPr>
              <p:cNvPr id="479" name="Circle">
                <a:extLst>
                  <a:ext uri="{FF2B5EF4-FFF2-40B4-BE49-F238E27FC236}">
                    <a16:creationId xmlns:a16="http://schemas.microsoft.com/office/drawing/2014/main" id="{1A9A4583-9A70-4A4A-B428-F9DDA974D52F}"/>
                  </a:ext>
                </a:extLst>
              </p:cNvPr>
              <p:cNvSpPr/>
              <p:nvPr/>
            </p:nvSpPr>
            <p:spPr>
              <a:xfrm>
                <a:off x="3424987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1682" y="10671"/>
                      <a:pt x="11803" y="-2739"/>
                      <a:pt x="23390" y="0"/>
                    </a:cubicBezTo>
                    <a:cubicBezTo>
                      <a:pt x="35723" y="-90"/>
                      <a:pt x="45882" y="11317"/>
                      <a:pt x="46780" y="23390"/>
                    </a:cubicBezTo>
                    <a:cubicBezTo>
                      <a:pt x="46545" y="34063"/>
                      <a:pt x="34440" y="49376"/>
                      <a:pt x="23390" y="46780"/>
                    </a:cubicBezTo>
                    <a:cubicBezTo>
                      <a:pt x="12129" y="47708"/>
                      <a:pt x="1203" y="36597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-1117" y="9783"/>
                      <a:pt x="8406" y="775"/>
                      <a:pt x="23390" y="0"/>
                    </a:cubicBezTo>
                    <a:cubicBezTo>
                      <a:pt x="37830" y="320"/>
                      <a:pt x="44047" y="10559"/>
                      <a:pt x="46780" y="23390"/>
                    </a:cubicBezTo>
                    <a:cubicBezTo>
                      <a:pt x="46336" y="36742"/>
                      <a:pt x="35901" y="49032"/>
                      <a:pt x="23390" y="46780"/>
                    </a:cubicBezTo>
                    <a:cubicBezTo>
                      <a:pt x="9576" y="46290"/>
                      <a:pt x="265" y="36434"/>
                      <a:pt x="0" y="233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0" name="Circle">
                <a:extLst>
                  <a:ext uri="{FF2B5EF4-FFF2-40B4-BE49-F238E27FC236}">
                    <a16:creationId xmlns:a16="http://schemas.microsoft.com/office/drawing/2014/main" id="{3F5E5008-2BC5-4916-820E-A2EA66220204}"/>
                  </a:ext>
                </a:extLst>
              </p:cNvPr>
              <p:cNvSpPr/>
              <p:nvPr/>
            </p:nvSpPr>
            <p:spPr>
              <a:xfrm>
                <a:off x="3349619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471" y="10024"/>
                      <a:pt x="13487" y="199"/>
                      <a:pt x="23390" y="0"/>
                    </a:cubicBezTo>
                    <a:cubicBezTo>
                      <a:pt x="37098" y="1350"/>
                      <a:pt x="43891" y="10410"/>
                      <a:pt x="46780" y="23390"/>
                    </a:cubicBezTo>
                    <a:cubicBezTo>
                      <a:pt x="47115" y="36357"/>
                      <a:pt x="34161" y="45800"/>
                      <a:pt x="23390" y="46780"/>
                    </a:cubicBezTo>
                    <a:cubicBezTo>
                      <a:pt x="9958" y="46933"/>
                      <a:pt x="1797" y="33872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-249" y="10909"/>
                      <a:pt x="9164" y="-540"/>
                      <a:pt x="23390" y="0"/>
                    </a:cubicBezTo>
                    <a:cubicBezTo>
                      <a:pt x="38771" y="-364"/>
                      <a:pt x="45375" y="13031"/>
                      <a:pt x="46780" y="23390"/>
                    </a:cubicBezTo>
                    <a:cubicBezTo>
                      <a:pt x="45187" y="36840"/>
                      <a:pt x="35644" y="47565"/>
                      <a:pt x="23390" y="46780"/>
                    </a:cubicBezTo>
                    <a:cubicBezTo>
                      <a:pt x="10883" y="46514"/>
                      <a:pt x="-842" y="36501"/>
                      <a:pt x="0" y="233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981765707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1" name="Circle">
                <a:extLst>
                  <a:ext uri="{FF2B5EF4-FFF2-40B4-BE49-F238E27FC236}">
                    <a16:creationId xmlns:a16="http://schemas.microsoft.com/office/drawing/2014/main" id="{CD857E6E-7764-42DB-83F9-4CF2BB093AC1}"/>
                  </a:ext>
                </a:extLst>
              </p:cNvPr>
              <p:cNvSpPr/>
              <p:nvPr/>
            </p:nvSpPr>
            <p:spPr>
              <a:xfrm>
                <a:off x="3274252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1806" y="11981"/>
                      <a:pt x="9589" y="-1108"/>
                      <a:pt x="23390" y="0"/>
                    </a:cubicBezTo>
                    <a:cubicBezTo>
                      <a:pt x="35544" y="48"/>
                      <a:pt x="46548" y="11408"/>
                      <a:pt x="46780" y="23390"/>
                    </a:cubicBezTo>
                    <a:cubicBezTo>
                      <a:pt x="46782" y="35750"/>
                      <a:pt x="34580" y="47371"/>
                      <a:pt x="23390" y="46780"/>
                    </a:cubicBezTo>
                    <a:cubicBezTo>
                      <a:pt x="9929" y="46078"/>
                      <a:pt x="741" y="35893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-624" y="9321"/>
                      <a:pt x="11223" y="-335"/>
                      <a:pt x="23390" y="0"/>
                    </a:cubicBezTo>
                    <a:cubicBezTo>
                      <a:pt x="37217" y="1928"/>
                      <a:pt x="46453" y="10624"/>
                      <a:pt x="46780" y="23390"/>
                    </a:cubicBezTo>
                    <a:cubicBezTo>
                      <a:pt x="44479" y="34311"/>
                      <a:pt x="37291" y="46415"/>
                      <a:pt x="23390" y="46780"/>
                    </a:cubicBezTo>
                    <a:cubicBezTo>
                      <a:pt x="8554" y="44780"/>
                      <a:pt x="2482" y="38189"/>
                      <a:pt x="0" y="233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3978248048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2" name="Circle">
                <a:extLst>
                  <a:ext uri="{FF2B5EF4-FFF2-40B4-BE49-F238E27FC236}">
                    <a16:creationId xmlns:a16="http://schemas.microsoft.com/office/drawing/2014/main" id="{AEB7B406-350C-491A-BB13-FA4D058DA813}"/>
                  </a:ext>
                </a:extLst>
              </p:cNvPr>
              <p:cNvSpPr/>
              <p:nvPr/>
            </p:nvSpPr>
            <p:spPr>
              <a:xfrm>
                <a:off x="3198884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-1586" y="9822"/>
                      <a:pt x="10126" y="626"/>
                      <a:pt x="23390" y="0"/>
                    </a:cubicBezTo>
                    <a:cubicBezTo>
                      <a:pt x="37229" y="1058"/>
                      <a:pt x="47417" y="11123"/>
                      <a:pt x="46780" y="23390"/>
                    </a:cubicBezTo>
                    <a:cubicBezTo>
                      <a:pt x="45132" y="35803"/>
                      <a:pt x="36988" y="47565"/>
                      <a:pt x="23390" y="46780"/>
                    </a:cubicBezTo>
                    <a:cubicBezTo>
                      <a:pt x="10231" y="47106"/>
                      <a:pt x="-2231" y="34262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1695" y="7977"/>
                      <a:pt x="11002" y="831"/>
                      <a:pt x="23390" y="0"/>
                    </a:cubicBezTo>
                    <a:cubicBezTo>
                      <a:pt x="35303" y="-2798"/>
                      <a:pt x="47494" y="10899"/>
                      <a:pt x="46780" y="23390"/>
                    </a:cubicBezTo>
                    <a:cubicBezTo>
                      <a:pt x="46640" y="34778"/>
                      <a:pt x="33519" y="48036"/>
                      <a:pt x="23390" y="46780"/>
                    </a:cubicBezTo>
                    <a:cubicBezTo>
                      <a:pt x="10028" y="44647"/>
                      <a:pt x="1129" y="37936"/>
                      <a:pt x="0" y="233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617256088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3" name="Filled Circle">
                <a:extLst>
                  <a:ext uri="{FF2B5EF4-FFF2-40B4-BE49-F238E27FC236}">
                    <a16:creationId xmlns:a16="http://schemas.microsoft.com/office/drawing/2014/main" id="{207C5182-96E0-4949-B149-B4AF96A63420}"/>
                  </a:ext>
                </a:extLst>
              </p:cNvPr>
              <p:cNvSpPr/>
              <p:nvPr/>
            </p:nvSpPr>
            <p:spPr>
              <a:xfrm>
                <a:off x="3121134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1682" y="10671"/>
                      <a:pt x="11803" y="-2739"/>
                      <a:pt x="23390" y="0"/>
                    </a:cubicBezTo>
                    <a:cubicBezTo>
                      <a:pt x="35723" y="-90"/>
                      <a:pt x="45882" y="11317"/>
                      <a:pt x="46780" y="23390"/>
                    </a:cubicBezTo>
                    <a:cubicBezTo>
                      <a:pt x="46545" y="34063"/>
                      <a:pt x="34440" y="49376"/>
                      <a:pt x="23390" y="46780"/>
                    </a:cubicBezTo>
                    <a:cubicBezTo>
                      <a:pt x="12129" y="47708"/>
                      <a:pt x="1203" y="36597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-1117" y="9783"/>
                      <a:pt x="8406" y="775"/>
                      <a:pt x="23390" y="0"/>
                    </a:cubicBezTo>
                    <a:cubicBezTo>
                      <a:pt x="37830" y="320"/>
                      <a:pt x="44047" y="10559"/>
                      <a:pt x="46780" y="23390"/>
                    </a:cubicBezTo>
                    <a:cubicBezTo>
                      <a:pt x="46336" y="36742"/>
                      <a:pt x="35901" y="49032"/>
                      <a:pt x="23390" y="46780"/>
                    </a:cubicBezTo>
                    <a:cubicBezTo>
                      <a:pt x="9576" y="46290"/>
                      <a:pt x="265" y="36434"/>
                      <a:pt x="0" y="2339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68" name="Picture Placeholder Graphic">
              <a:extLst>
                <a:ext uri="{FF2B5EF4-FFF2-40B4-BE49-F238E27FC236}">
                  <a16:creationId xmlns:a16="http://schemas.microsoft.com/office/drawing/2014/main" id="{488B217E-A0A7-4D4E-83C2-F133450275DE}"/>
                </a:ext>
              </a:extLst>
            </p:cNvPr>
            <p:cNvGrpSpPr/>
            <p:nvPr/>
          </p:nvGrpSpPr>
          <p:grpSpPr>
            <a:xfrm>
              <a:off x="4628143" y="8280537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476" name="Triangle 2">
                <a:extLst>
                  <a:ext uri="{FF2B5EF4-FFF2-40B4-BE49-F238E27FC236}">
                    <a16:creationId xmlns:a16="http://schemas.microsoft.com/office/drawing/2014/main" id="{F096C385-5CE9-49E6-9D10-1BE044E6B44D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7" name="Triangle 1">
                <a:extLst>
                  <a:ext uri="{FF2B5EF4-FFF2-40B4-BE49-F238E27FC236}">
                    <a16:creationId xmlns:a16="http://schemas.microsoft.com/office/drawing/2014/main" id="{8F411FEF-5053-4E54-B6FB-FDEE32EFF53B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8" name="Circle">
                <a:extLst>
                  <a:ext uri="{FF2B5EF4-FFF2-40B4-BE49-F238E27FC236}">
                    <a16:creationId xmlns:a16="http://schemas.microsoft.com/office/drawing/2014/main" id="{D0BEBA4E-98C6-4C23-8BCC-A35B0D983C5A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69" name="Right Arrow">
              <a:extLst>
                <a:ext uri="{FF2B5EF4-FFF2-40B4-BE49-F238E27FC236}">
                  <a16:creationId xmlns:a16="http://schemas.microsoft.com/office/drawing/2014/main" id="{CDFF6FC5-CCD7-481F-8E42-F1EDCE2B8A84}"/>
                </a:ext>
              </a:extLst>
            </p:cNvPr>
            <p:cNvGrpSpPr/>
            <p:nvPr/>
          </p:nvGrpSpPr>
          <p:grpSpPr>
            <a:xfrm>
              <a:off x="5485415" y="8375981"/>
              <a:ext cx="115082" cy="115082"/>
              <a:chOff x="5485415" y="8375981"/>
              <a:chExt cx="115082" cy="115082"/>
            </a:xfrm>
          </p:grpSpPr>
          <p:sp>
            <p:nvSpPr>
              <p:cNvPr id="471" name="Circle">
                <a:extLst>
                  <a:ext uri="{FF2B5EF4-FFF2-40B4-BE49-F238E27FC236}">
                    <a16:creationId xmlns:a16="http://schemas.microsoft.com/office/drawing/2014/main" id="{183AD958-130C-4093-B336-A7A8D268C627}"/>
                  </a:ext>
                </a:extLst>
              </p:cNvPr>
              <p:cNvSpPr/>
              <p:nvPr/>
            </p:nvSpPr>
            <p:spPr>
              <a:xfrm>
                <a:off x="5485415" y="8375981"/>
                <a:ext cx="115082" cy="115082"/>
              </a:xfrm>
              <a:custGeom>
                <a:avLst/>
                <a:gdLst>
                  <a:gd name="connsiteX0" fmla="*/ 0 w 115082"/>
                  <a:gd name="connsiteY0" fmla="*/ 57541 h 115082"/>
                  <a:gd name="connsiteX1" fmla="*/ 57541 w 115082"/>
                  <a:gd name="connsiteY1" fmla="*/ 0 h 115082"/>
                  <a:gd name="connsiteX2" fmla="*/ 115082 w 115082"/>
                  <a:gd name="connsiteY2" fmla="*/ 57541 h 115082"/>
                  <a:gd name="connsiteX3" fmla="*/ 57541 w 115082"/>
                  <a:gd name="connsiteY3" fmla="*/ 115082 h 115082"/>
                  <a:gd name="connsiteX4" fmla="*/ 0 w 115082"/>
                  <a:gd name="connsiteY4" fmla="*/ 57541 h 115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082" h="115082" fill="none" extrusionOk="0">
                    <a:moveTo>
                      <a:pt x="0" y="57541"/>
                    </a:moveTo>
                    <a:cubicBezTo>
                      <a:pt x="-2033" y="24939"/>
                      <a:pt x="28939" y="-3747"/>
                      <a:pt x="57541" y="0"/>
                    </a:cubicBezTo>
                    <a:cubicBezTo>
                      <a:pt x="89039" y="-1215"/>
                      <a:pt x="114697" y="22856"/>
                      <a:pt x="115082" y="57541"/>
                    </a:cubicBezTo>
                    <a:cubicBezTo>
                      <a:pt x="121642" y="89102"/>
                      <a:pt x="84404" y="115471"/>
                      <a:pt x="57541" y="115082"/>
                    </a:cubicBezTo>
                    <a:cubicBezTo>
                      <a:pt x="22807" y="122040"/>
                      <a:pt x="-3009" y="93825"/>
                      <a:pt x="0" y="57541"/>
                    </a:cubicBezTo>
                    <a:close/>
                  </a:path>
                  <a:path w="115082" h="115082" stroke="0" extrusionOk="0">
                    <a:moveTo>
                      <a:pt x="0" y="57541"/>
                    </a:moveTo>
                    <a:cubicBezTo>
                      <a:pt x="-6277" y="21217"/>
                      <a:pt x="29914" y="20"/>
                      <a:pt x="57541" y="0"/>
                    </a:cubicBezTo>
                    <a:cubicBezTo>
                      <a:pt x="87236" y="-7144"/>
                      <a:pt x="110465" y="22071"/>
                      <a:pt x="115082" y="57541"/>
                    </a:cubicBezTo>
                    <a:cubicBezTo>
                      <a:pt x="117759" y="87871"/>
                      <a:pt x="95910" y="116769"/>
                      <a:pt x="57541" y="115082"/>
                    </a:cubicBezTo>
                    <a:cubicBezTo>
                      <a:pt x="26721" y="115707"/>
                      <a:pt x="-130" y="81423"/>
                      <a:pt x="0" y="57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662386096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472" name="Right Arrow">
                <a:extLst>
                  <a:ext uri="{FF2B5EF4-FFF2-40B4-BE49-F238E27FC236}">
                    <a16:creationId xmlns:a16="http://schemas.microsoft.com/office/drawing/2014/main" id="{8AB17F07-D95B-48F4-B63B-F4B3FE619EEF}"/>
                  </a:ext>
                </a:extLst>
              </p:cNvPr>
              <p:cNvGrpSpPr/>
              <p:nvPr/>
            </p:nvGrpSpPr>
            <p:grpSpPr>
              <a:xfrm rot="13229624">
                <a:off x="5529172" y="8414378"/>
                <a:ext cx="38361" cy="38361"/>
                <a:chOff x="1411369" y="3109610"/>
                <a:chExt cx="182868" cy="191529"/>
              </a:xfrm>
            </p:grpSpPr>
            <p:cxnSp>
              <p:nvCxnSpPr>
                <p:cNvPr id="473" name="Line 2">
                  <a:extLst>
                    <a:ext uri="{FF2B5EF4-FFF2-40B4-BE49-F238E27FC236}">
                      <a16:creationId xmlns:a16="http://schemas.microsoft.com/office/drawing/2014/main" id="{DF8999D0-AFE1-4B42-B1F0-7BC370D71F2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1270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4" name="Line 1">
                  <a:extLst>
                    <a:ext uri="{FF2B5EF4-FFF2-40B4-BE49-F238E27FC236}">
                      <a16:creationId xmlns:a16="http://schemas.microsoft.com/office/drawing/2014/main" id="{0A5E5C45-8D92-43B4-BC6D-F400E268B3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1270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4" name="Photo Title">
            <a:extLst>
              <a:ext uri="{FF2B5EF4-FFF2-40B4-BE49-F238E27FC236}">
                <a16:creationId xmlns:a16="http://schemas.microsoft.com/office/drawing/2014/main" id="{1F05A6EE-AA95-455F-BB16-158CABB6584D}"/>
              </a:ext>
            </a:extLst>
          </p:cNvPr>
          <p:cNvSpPr txBox="1"/>
          <p:nvPr/>
        </p:nvSpPr>
        <p:spPr>
          <a:xfrm>
            <a:off x="8271106" y="2649502"/>
            <a:ext cx="2853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hoto Placeholder</a:t>
            </a:r>
          </a:p>
        </p:txBody>
      </p:sp>
      <p:grpSp>
        <p:nvGrpSpPr>
          <p:cNvPr id="324" name="Dropdown Box 2 Expanded">
            <a:extLst>
              <a:ext uri="{FF2B5EF4-FFF2-40B4-BE49-F238E27FC236}">
                <a16:creationId xmlns:a16="http://schemas.microsoft.com/office/drawing/2014/main" id="{103BF647-E91B-4D23-A519-F70008CD1E9E}"/>
              </a:ext>
            </a:extLst>
          </p:cNvPr>
          <p:cNvGrpSpPr/>
          <p:nvPr/>
        </p:nvGrpSpPr>
        <p:grpSpPr>
          <a:xfrm>
            <a:off x="5890533" y="5012231"/>
            <a:ext cx="786384" cy="859538"/>
            <a:chOff x="15526711" y="10111367"/>
            <a:chExt cx="861959" cy="1056670"/>
          </a:xfrm>
        </p:grpSpPr>
        <p:sp>
          <p:nvSpPr>
            <p:cNvPr id="424" name="Dropdown Menu Background">
              <a:extLst>
                <a:ext uri="{FF2B5EF4-FFF2-40B4-BE49-F238E27FC236}">
                  <a16:creationId xmlns:a16="http://schemas.microsoft.com/office/drawing/2014/main" id="{C1E91B1B-870B-4076-BB55-06D7F43C2D7D}"/>
                </a:ext>
              </a:extLst>
            </p:cNvPr>
            <p:cNvSpPr/>
            <p:nvPr/>
          </p:nvSpPr>
          <p:spPr>
            <a:xfrm>
              <a:off x="15531331" y="10130072"/>
              <a:ext cx="857339" cy="1037965"/>
            </a:xfrm>
            <a:custGeom>
              <a:avLst/>
              <a:gdLst>
                <a:gd name="connsiteX0" fmla="*/ 0 w 857339"/>
                <a:gd name="connsiteY0" fmla="*/ 14017 h 1037965"/>
                <a:gd name="connsiteX1" fmla="*/ 14017 w 857339"/>
                <a:gd name="connsiteY1" fmla="*/ 0 h 1037965"/>
                <a:gd name="connsiteX2" fmla="*/ 420376 w 857339"/>
                <a:gd name="connsiteY2" fmla="*/ 0 h 1037965"/>
                <a:gd name="connsiteX3" fmla="*/ 843322 w 857339"/>
                <a:gd name="connsiteY3" fmla="*/ 0 h 1037965"/>
                <a:gd name="connsiteX4" fmla="*/ 857339 w 857339"/>
                <a:gd name="connsiteY4" fmla="*/ 14017 h 1037965"/>
                <a:gd name="connsiteX5" fmla="*/ 857339 w 857339"/>
                <a:gd name="connsiteY5" fmla="*/ 518983 h 1037965"/>
                <a:gd name="connsiteX6" fmla="*/ 857339 w 857339"/>
                <a:gd name="connsiteY6" fmla="*/ 1023948 h 1037965"/>
                <a:gd name="connsiteX7" fmla="*/ 843322 w 857339"/>
                <a:gd name="connsiteY7" fmla="*/ 1037965 h 1037965"/>
                <a:gd name="connsiteX8" fmla="*/ 412083 w 857339"/>
                <a:gd name="connsiteY8" fmla="*/ 1037965 h 1037965"/>
                <a:gd name="connsiteX9" fmla="*/ 14017 w 857339"/>
                <a:gd name="connsiteY9" fmla="*/ 1037965 h 1037965"/>
                <a:gd name="connsiteX10" fmla="*/ 0 w 857339"/>
                <a:gd name="connsiteY10" fmla="*/ 1023948 h 1037965"/>
                <a:gd name="connsiteX11" fmla="*/ 0 w 857339"/>
                <a:gd name="connsiteY11" fmla="*/ 539181 h 1037965"/>
                <a:gd name="connsiteX12" fmla="*/ 0 w 857339"/>
                <a:gd name="connsiteY12" fmla="*/ 14017 h 103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339" h="1037965" fill="none" extrusionOk="0">
                  <a:moveTo>
                    <a:pt x="0" y="14017"/>
                  </a:moveTo>
                  <a:cubicBezTo>
                    <a:pt x="35" y="5357"/>
                    <a:pt x="6753" y="980"/>
                    <a:pt x="14017" y="0"/>
                  </a:cubicBezTo>
                  <a:cubicBezTo>
                    <a:pt x="205329" y="4036"/>
                    <a:pt x="289976" y="-4120"/>
                    <a:pt x="420376" y="0"/>
                  </a:cubicBezTo>
                  <a:cubicBezTo>
                    <a:pt x="550776" y="4120"/>
                    <a:pt x="735859" y="-956"/>
                    <a:pt x="843322" y="0"/>
                  </a:cubicBezTo>
                  <a:cubicBezTo>
                    <a:pt x="852048" y="-617"/>
                    <a:pt x="857387" y="4412"/>
                    <a:pt x="857339" y="14017"/>
                  </a:cubicBezTo>
                  <a:cubicBezTo>
                    <a:pt x="849040" y="166461"/>
                    <a:pt x="874419" y="375375"/>
                    <a:pt x="857339" y="518983"/>
                  </a:cubicBezTo>
                  <a:cubicBezTo>
                    <a:pt x="840259" y="662591"/>
                    <a:pt x="873912" y="867841"/>
                    <a:pt x="857339" y="1023948"/>
                  </a:cubicBezTo>
                  <a:cubicBezTo>
                    <a:pt x="858407" y="1031491"/>
                    <a:pt x="852289" y="1037661"/>
                    <a:pt x="843322" y="1037965"/>
                  </a:cubicBezTo>
                  <a:cubicBezTo>
                    <a:pt x="688116" y="1038383"/>
                    <a:pt x="600943" y="1042750"/>
                    <a:pt x="412083" y="1037965"/>
                  </a:cubicBezTo>
                  <a:cubicBezTo>
                    <a:pt x="223223" y="1033180"/>
                    <a:pt x="152525" y="1032144"/>
                    <a:pt x="14017" y="1037965"/>
                  </a:cubicBezTo>
                  <a:cubicBezTo>
                    <a:pt x="5938" y="1038932"/>
                    <a:pt x="-102" y="1032152"/>
                    <a:pt x="0" y="1023948"/>
                  </a:cubicBezTo>
                  <a:cubicBezTo>
                    <a:pt x="14643" y="885254"/>
                    <a:pt x="-23008" y="716776"/>
                    <a:pt x="0" y="539181"/>
                  </a:cubicBezTo>
                  <a:cubicBezTo>
                    <a:pt x="23008" y="361586"/>
                    <a:pt x="6794" y="265064"/>
                    <a:pt x="0" y="14017"/>
                  </a:cubicBezTo>
                  <a:close/>
                </a:path>
                <a:path w="857339" h="1037965" stroke="0" extrusionOk="0">
                  <a:moveTo>
                    <a:pt x="0" y="14017"/>
                  </a:moveTo>
                  <a:cubicBezTo>
                    <a:pt x="289" y="5729"/>
                    <a:pt x="5423" y="1648"/>
                    <a:pt x="14017" y="0"/>
                  </a:cubicBezTo>
                  <a:cubicBezTo>
                    <a:pt x="221001" y="-15081"/>
                    <a:pt x="293569" y="-13688"/>
                    <a:pt x="436963" y="0"/>
                  </a:cubicBezTo>
                  <a:cubicBezTo>
                    <a:pt x="580357" y="13688"/>
                    <a:pt x="696919" y="15410"/>
                    <a:pt x="843322" y="0"/>
                  </a:cubicBezTo>
                  <a:cubicBezTo>
                    <a:pt x="851275" y="-59"/>
                    <a:pt x="858035" y="6816"/>
                    <a:pt x="857339" y="14017"/>
                  </a:cubicBezTo>
                  <a:cubicBezTo>
                    <a:pt x="881343" y="120705"/>
                    <a:pt x="866177" y="392311"/>
                    <a:pt x="857339" y="508883"/>
                  </a:cubicBezTo>
                  <a:cubicBezTo>
                    <a:pt x="848501" y="625455"/>
                    <a:pt x="877512" y="811367"/>
                    <a:pt x="857339" y="1023948"/>
                  </a:cubicBezTo>
                  <a:cubicBezTo>
                    <a:pt x="856921" y="1030134"/>
                    <a:pt x="849688" y="1037194"/>
                    <a:pt x="843322" y="1037965"/>
                  </a:cubicBezTo>
                  <a:cubicBezTo>
                    <a:pt x="693734" y="1031387"/>
                    <a:pt x="642031" y="1032814"/>
                    <a:pt x="453549" y="1037965"/>
                  </a:cubicBezTo>
                  <a:cubicBezTo>
                    <a:pt x="265067" y="1043116"/>
                    <a:pt x="134453" y="1033766"/>
                    <a:pt x="14017" y="1037965"/>
                  </a:cubicBezTo>
                  <a:cubicBezTo>
                    <a:pt x="4535" y="1037585"/>
                    <a:pt x="118" y="1030549"/>
                    <a:pt x="0" y="1023948"/>
                  </a:cubicBezTo>
                  <a:cubicBezTo>
                    <a:pt x="14635" y="864862"/>
                    <a:pt x="-2508" y="740193"/>
                    <a:pt x="0" y="549280"/>
                  </a:cubicBezTo>
                  <a:cubicBezTo>
                    <a:pt x="2508" y="358367"/>
                    <a:pt x="-13755" y="161812"/>
                    <a:pt x="0" y="14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F2F2F2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16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rtlCol="0" anchor="ctr"/>
            <a:lstStyle/>
            <a:p>
              <a:endParaRPr lang="en-US" sz="75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32" name="Dropdown Box and Text">
              <a:extLst>
                <a:ext uri="{FF2B5EF4-FFF2-40B4-BE49-F238E27FC236}">
                  <a16:creationId xmlns:a16="http://schemas.microsoft.com/office/drawing/2014/main" id="{40A7180D-B217-4FAF-AE14-CF34661E19B1}"/>
                </a:ext>
              </a:extLst>
            </p:cNvPr>
            <p:cNvSpPr/>
            <p:nvPr/>
          </p:nvSpPr>
          <p:spPr>
            <a:xfrm>
              <a:off x="15526711" y="10111367"/>
              <a:ext cx="861959" cy="239405"/>
            </a:xfrm>
            <a:custGeom>
              <a:avLst/>
              <a:gdLst>
                <a:gd name="connsiteX0" fmla="*/ 0 w 861959"/>
                <a:gd name="connsiteY0" fmla="*/ 15667 h 239405"/>
                <a:gd name="connsiteX1" fmla="*/ 15667 w 861959"/>
                <a:gd name="connsiteY1" fmla="*/ 0 h 239405"/>
                <a:gd name="connsiteX2" fmla="*/ 414367 w 861959"/>
                <a:gd name="connsiteY2" fmla="*/ 0 h 239405"/>
                <a:gd name="connsiteX3" fmla="*/ 846292 w 861959"/>
                <a:gd name="connsiteY3" fmla="*/ 0 h 239405"/>
                <a:gd name="connsiteX4" fmla="*/ 861959 w 861959"/>
                <a:gd name="connsiteY4" fmla="*/ 15667 h 239405"/>
                <a:gd name="connsiteX5" fmla="*/ 861959 w 861959"/>
                <a:gd name="connsiteY5" fmla="*/ 223738 h 239405"/>
                <a:gd name="connsiteX6" fmla="*/ 846292 w 861959"/>
                <a:gd name="connsiteY6" fmla="*/ 239405 h 239405"/>
                <a:gd name="connsiteX7" fmla="*/ 414367 w 861959"/>
                <a:gd name="connsiteY7" fmla="*/ 239405 h 239405"/>
                <a:gd name="connsiteX8" fmla="*/ 15667 w 861959"/>
                <a:gd name="connsiteY8" fmla="*/ 239405 h 239405"/>
                <a:gd name="connsiteX9" fmla="*/ 0 w 861959"/>
                <a:gd name="connsiteY9" fmla="*/ 223738 h 239405"/>
                <a:gd name="connsiteX10" fmla="*/ 0 w 861959"/>
                <a:gd name="connsiteY10" fmla="*/ 15667 h 239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1959" h="239405" fill="none" extrusionOk="0">
                  <a:moveTo>
                    <a:pt x="0" y="15667"/>
                  </a:moveTo>
                  <a:cubicBezTo>
                    <a:pt x="75" y="5908"/>
                    <a:pt x="6120" y="1572"/>
                    <a:pt x="15667" y="0"/>
                  </a:cubicBezTo>
                  <a:cubicBezTo>
                    <a:pt x="183165" y="-4074"/>
                    <a:pt x="316798" y="1463"/>
                    <a:pt x="414367" y="0"/>
                  </a:cubicBezTo>
                  <a:cubicBezTo>
                    <a:pt x="511936" y="-1463"/>
                    <a:pt x="740407" y="-21304"/>
                    <a:pt x="846292" y="0"/>
                  </a:cubicBezTo>
                  <a:cubicBezTo>
                    <a:pt x="853065" y="501"/>
                    <a:pt x="861991" y="6661"/>
                    <a:pt x="861959" y="15667"/>
                  </a:cubicBezTo>
                  <a:cubicBezTo>
                    <a:pt x="861313" y="84052"/>
                    <a:pt x="852822" y="131089"/>
                    <a:pt x="861959" y="223738"/>
                  </a:cubicBezTo>
                  <a:cubicBezTo>
                    <a:pt x="861470" y="233587"/>
                    <a:pt x="855317" y="240031"/>
                    <a:pt x="846292" y="239405"/>
                  </a:cubicBezTo>
                  <a:cubicBezTo>
                    <a:pt x="714406" y="228181"/>
                    <a:pt x="609378" y="231506"/>
                    <a:pt x="414367" y="239405"/>
                  </a:cubicBezTo>
                  <a:cubicBezTo>
                    <a:pt x="219356" y="247304"/>
                    <a:pt x="100386" y="247664"/>
                    <a:pt x="15667" y="239405"/>
                  </a:cubicBezTo>
                  <a:cubicBezTo>
                    <a:pt x="7016" y="239614"/>
                    <a:pt x="566" y="232222"/>
                    <a:pt x="0" y="223738"/>
                  </a:cubicBezTo>
                  <a:cubicBezTo>
                    <a:pt x="3042" y="161816"/>
                    <a:pt x="4748" y="83070"/>
                    <a:pt x="0" y="15667"/>
                  </a:cubicBezTo>
                  <a:close/>
                </a:path>
                <a:path w="861959" h="239405" stroke="0" extrusionOk="0">
                  <a:moveTo>
                    <a:pt x="0" y="15667"/>
                  </a:moveTo>
                  <a:cubicBezTo>
                    <a:pt x="439" y="6184"/>
                    <a:pt x="6615" y="771"/>
                    <a:pt x="15667" y="0"/>
                  </a:cubicBezTo>
                  <a:cubicBezTo>
                    <a:pt x="113532" y="-12349"/>
                    <a:pt x="333174" y="-15516"/>
                    <a:pt x="439286" y="0"/>
                  </a:cubicBezTo>
                  <a:cubicBezTo>
                    <a:pt x="545398" y="15516"/>
                    <a:pt x="760514" y="4252"/>
                    <a:pt x="846292" y="0"/>
                  </a:cubicBezTo>
                  <a:cubicBezTo>
                    <a:pt x="855607" y="-185"/>
                    <a:pt x="863294" y="8050"/>
                    <a:pt x="861959" y="15667"/>
                  </a:cubicBezTo>
                  <a:cubicBezTo>
                    <a:pt x="858277" y="79985"/>
                    <a:pt x="857980" y="164436"/>
                    <a:pt x="861959" y="223738"/>
                  </a:cubicBezTo>
                  <a:cubicBezTo>
                    <a:pt x="860445" y="232181"/>
                    <a:pt x="854418" y="239722"/>
                    <a:pt x="846292" y="239405"/>
                  </a:cubicBezTo>
                  <a:cubicBezTo>
                    <a:pt x="667350" y="226838"/>
                    <a:pt x="520710" y="232542"/>
                    <a:pt x="414367" y="239405"/>
                  </a:cubicBezTo>
                  <a:cubicBezTo>
                    <a:pt x="308025" y="246268"/>
                    <a:pt x="123155" y="235389"/>
                    <a:pt x="15667" y="239405"/>
                  </a:cubicBezTo>
                  <a:cubicBezTo>
                    <a:pt x="6620" y="240987"/>
                    <a:pt x="-1255" y="232264"/>
                    <a:pt x="0" y="223738"/>
                  </a:cubicBezTo>
                  <a:cubicBezTo>
                    <a:pt x="-9592" y="160928"/>
                    <a:pt x="-734" y="119039"/>
                    <a:pt x="0" y="1566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rgbClr val="F2F2F2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6544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tlCol="0" anchor="ctr"/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      Dropdown</a:t>
              </a:r>
            </a:p>
          </p:txBody>
        </p:sp>
        <p:grpSp>
          <p:nvGrpSpPr>
            <p:cNvPr id="433" name="Dropdown Icon">
              <a:extLst>
                <a:ext uri="{FF2B5EF4-FFF2-40B4-BE49-F238E27FC236}">
                  <a16:creationId xmlns:a16="http://schemas.microsoft.com/office/drawing/2014/main" id="{96B6E1E8-696C-460B-849F-D37CDCA54535}"/>
                </a:ext>
              </a:extLst>
            </p:cNvPr>
            <p:cNvGrpSpPr/>
            <p:nvPr/>
          </p:nvGrpSpPr>
          <p:grpSpPr>
            <a:xfrm rot="18531467">
              <a:off x="15610820" y="10197612"/>
              <a:ext cx="81860" cy="81128"/>
              <a:chOff x="1391765" y="3123695"/>
              <a:chExt cx="188889" cy="187203"/>
            </a:xfrm>
          </p:grpSpPr>
          <p:cxnSp>
            <p:nvCxnSpPr>
              <p:cNvPr id="437" name="Line 2">
                <a:extLst>
                  <a:ext uri="{FF2B5EF4-FFF2-40B4-BE49-F238E27FC236}">
                    <a16:creationId xmlns:a16="http://schemas.microsoft.com/office/drawing/2014/main" id="{52DADF8B-E92D-490E-AD6C-8C7D3E492B08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470925" y="3201171"/>
                <a:ext cx="109729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Line 1">
                <a:extLst>
                  <a:ext uri="{FF2B5EF4-FFF2-40B4-BE49-F238E27FC236}">
                    <a16:creationId xmlns:a16="http://schemas.microsoft.com/office/drawing/2014/main" id="{25044E2D-C77A-4DB4-9B78-6A029F561609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391765" y="3123695"/>
                <a:ext cx="109729" cy="109730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4" name="Dropdown Option 3">
              <a:extLst>
                <a:ext uri="{FF2B5EF4-FFF2-40B4-BE49-F238E27FC236}">
                  <a16:creationId xmlns:a16="http://schemas.microsoft.com/office/drawing/2014/main" id="{8D371D2C-F68F-4DAA-B50E-816D0958604B}"/>
                </a:ext>
              </a:extLst>
            </p:cNvPr>
            <p:cNvSpPr txBox="1"/>
            <p:nvPr/>
          </p:nvSpPr>
          <p:spPr>
            <a:xfrm>
              <a:off x="15555358" y="10934607"/>
              <a:ext cx="818823" cy="20467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73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ropdown</a:t>
              </a:r>
              <a:endParaRPr lang="en-US" sz="730" dirty="0"/>
            </a:p>
          </p:txBody>
        </p:sp>
        <p:sp>
          <p:nvSpPr>
            <p:cNvPr id="435" name="Highlighted Dropdown Option 2">
              <a:extLst>
                <a:ext uri="{FF2B5EF4-FFF2-40B4-BE49-F238E27FC236}">
                  <a16:creationId xmlns:a16="http://schemas.microsoft.com/office/drawing/2014/main" id="{45053FE5-CCE7-4496-84CB-CC17D19D7424}"/>
                </a:ext>
              </a:extLst>
            </p:cNvPr>
            <p:cNvSpPr/>
            <p:nvPr/>
          </p:nvSpPr>
          <p:spPr>
            <a:xfrm>
              <a:off x="15531046" y="10633876"/>
              <a:ext cx="857415" cy="258968"/>
            </a:xfrm>
            <a:custGeom>
              <a:avLst/>
              <a:gdLst>
                <a:gd name="connsiteX0" fmla="*/ 0 w 857415"/>
                <a:gd name="connsiteY0" fmla="*/ 7381 h 258968"/>
                <a:gd name="connsiteX1" fmla="*/ 7381 w 857415"/>
                <a:gd name="connsiteY1" fmla="*/ 0 h 258968"/>
                <a:gd name="connsiteX2" fmla="*/ 411854 w 857415"/>
                <a:gd name="connsiteY2" fmla="*/ 0 h 258968"/>
                <a:gd name="connsiteX3" fmla="*/ 850034 w 857415"/>
                <a:gd name="connsiteY3" fmla="*/ 0 h 258968"/>
                <a:gd name="connsiteX4" fmla="*/ 857415 w 857415"/>
                <a:gd name="connsiteY4" fmla="*/ 7381 h 258968"/>
                <a:gd name="connsiteX5" fmla="*/ 857415 w 857415"/>
                <a:gd name="connsiteY5" fmla="*/ 251587 h 258968"/>
                <a:gd name="connsiteX6" fmla="*/ 850034 w 857415"/>
                <a:gd name="connsiteY6" fmla="*/ 258968 h 258968"/>
                <a:gd name="connsiteX7" fmla="*/ 411854 w 857415"/>
                <a:gd name="connsiteY7" fmla="*/ 258968 h 258968"/>
                <a:gd name="connsiteX8" fmla="*/ 7381 w 857415"/>
                <a:gd name="connsiteY8" fmla="*/ 258968 h 258968"/>
                <a:gd name="connsiteX9" fmla="*/ 0 w 857415"/>
                <a:gd name="connsiteY9" fmla="*/ 251587 h 258968"/>
                <a:gd name="connsiteX10" fmla="*/ 0 w 857415"/>
                <a:gd name="connsiteY10" fmla="*/ 7381 h 2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7415" h="258968" fill="none" extrusionOk="0">
                  <a:moveTo>
                    <a:pt x="0" y="7381"/>
                  </a:moveTo>
                  <a:cubicBezTo>
                    <a:pt x="14" y="3106"/>
                    <a:pt x="3135" y="299"/>
                    <a:pt x="7381" y="0"/>
                  </a:cubicBezTo>
                  <a:cubicBezTo>
                    <a:pt x="170701" y="-9568"/>
                    <a:pt x="326803" y="5205"/>
                    <a:pt x="411854" y="0"/>
                  </a:cubicBezTo>
                  <a:cubicBezTo>
                    <a:pt x="496905" y="-5205"/>
                    <a:pt x="646760" y="-875"/>
                    <a:pt x="850034" y="0"/>
                  </a:cubicBezTo>
                  <a:cubicBezTo>
                    <a:pt x="853391" y="191"/>
                    <a:pt x="857458" y="2827"/>
                    <a:pt x="857415" y="7381"/>
                  </a:cubicBezTo>
                  <a:cubicBezTo>
                    <a:pt x="858180" y="65042"/>
                    <a:pt x="857940" y="153938"/>
                    <a:pt x="857415" y="251587"/>
                  </a:cubicBezTo>
                  <a:cubicBezTo>
                    <a:pt x="857332" y="255867"/>
                    <a:pt x="854546" y="259702"/>
                    <a:pt x="850034" y="258968"/>
                  </a:cubicBezTo>
                  <a:cubicBezTo>
                    <a:pt x="722750" y="276237"/>
                    <a:pt x="597087" y="240205"/>
                    <a:pt x="411854" y="258968"/>
                  </a:cubicBezTo>
                  <a:cubicBezTo>
                    <a:pt x="226621" y="277731"/>
                    <a:pt x="179619" y="242040"/>
                    <a:pt x="7381" y="258968"/>
                  </a:cubicBezTo>
                  <a:cubicBezTo>
                    <a:pt x="3308" y="259295"/>
                    <a:pt x="320" y="255567"/>
                    <a:pt x="0" y="251587"/>
                  </a:cubicBezTo>
                  <a:cubicBezTo>
                    <a:pt x="-8165" y="135243"/>
                    <a:pt x="-5534" y="108649"/>
                    <a:pt x="0" y="7381"/>
                  </a:cubicBezTo>
                  <a:close/>
                </a:path>
                <a:path w="857415" h="258968" stroke="0" extrusionOk="0">
                  <a:moveTo>
                    <a:pt x="0" y="7381"/>
                  </a:moveTo>
                  <a:cubicBezTo>
                    <a:pt x="118" y="3082"/>
                    <a:pt x="3156" y="288"/>
                    <a:pt x="7381" y="0"/>
                  </a:cubicBezTo>
                  <a:cubicBezTo>
                    <a:pt x="190808" y="1554"/>
                    <a:pt x="336616" y="-8218"/>
                    <a:pt x="437134" y="0"/>
                  </a:cubicBezTo>
                  <a:cubicBezTo>
                    <a:pt x="537652" y="8218"/>
                    <a:pt x="753188" y="12646"/>
                    <a:pt x="850034" y="0"/>
                  </a:cubicBezTo>
                  <a:cubicBezTo>
                    <a:pt x="854946" y="-234"/>
                    <a:pt x="857997" y="3757"/>
                    <a:pt x="857415" y="7381"/>
                  </a:cubicBezTo>
                  <a:cubicBezTo>
                    <a:pt x="866049" y="103396"/>
                    <a:pt x="845551" y="133826"/>
                    <a:pt x="857415" y="251587"/>
                  </a:cubicBezTo>
                  <a:cubicBezTo>
                    <a:pt x="857068" y="255615"/>
                    <a:pt x="853920" y="259082"/>
                    <a:pt x="850034" y="258968"/>
                  </a:cubicBezTo>
                  <a:cubicBezTo>
                    <a:pt x="731148" y="277666"/>
                    <a:pt x="623273" y="260435"/>
                    <a:pt x="411854" y="258968"/>
                  </a:cubicBezTo>
                  <a:cubicBezTo>
                    <a:pt x="200435" y="257501"/>
                    <a:pt x="182014" y="271974"/>
                    <a:pt x="7381" y="258968"/>
                  </a:cubicBezTo>
                  <a:cubicBezTo>
                    <a:pt x="3208" y="259356"/>
                    <a:pt x="-212" y="255642"/>
                    <a:pt x="0" y="251587"/>
                  </a:cubicBezTo>
                  <a:cubicBezTo>
                    <a:pt x="5229" y="156752"/>
                    <a:pt x="9933" y="66580"/>
                    <a:pt x="0" y="738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rgbClr val="F2F2F2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285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rtlCol="0" anchor="ctr"/>
            <a:lstStyle/>
            <a:p>
              <a:r>
                <a:rPr lang="en-US" sz="73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Dropdown</a:t>
              </a:r>
            </a:p>
          </p:txBody>
        </p:sp>
        <p:sp>
          <p:nvSpPr>
            <p:cNvPr id="436" name="Dropdown Option 1">
              <a:extLst>
                <a:ext uri="{FF2B5EF4-FFF2-40B4-BE49-F238E27FC236}">
                  <a16:creationId xmlns:a16="http://schemas.microsoft.com/office/drawing/2014/main" id="{AD4BDB3A-C4EB-4041-A85E-F98992D4FAFA}"/>
                </a:ext>
              </a:extLst>
            </p:cNvPr>
            <p:cNvSpPr txBox="1"/>
            <p:nvPr/>
          </p:nvSpPr>
          <p:spPr>
            <a:xfrm>
              <a:off x="15557740" y="10381599"/>
              <a:ext cx="818823" cy="20467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73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ropdown</a:t>
              </a:r>
              <a:endParaRPr lang="en-US" sz="730" dirty="0"/>
            </a:p>
          </p:txBody>
        </p:sp>
      </p:grpSp>
      <p:grpSp>
        <p:nvGrpSpPr>
          <p:cNvPr id="6" name="Dropdown Box 1 Expanded">
            <a:extLst>
              <a:ext uri="{FF2B5EF4-FFF2-40B4-BE49-F238E27FC236}">
                <a16:creationId xmlns:a16="http://schemas.microsoft.com/office/drawing/2014/main" id="{F0BDDD48-8286-4AF4-8330-36EA1D7E1A23}"/>
              </a:ext>
            </a:extLst>
          </p:cNvPr>
          <p:cNvGrpSpPr/>
          <p:nvPr/>
        </p:nvGrpSpPr>
        <p:grpSpPr>
          <a:xfrm>
            <a:off x="4703336" y="5032086"/>
            <a:ext cx="923544" cy="753123"/>
            <a:chOff x="6091317" y="9386699"/>
            <a:chExt cx="923544" cy="753123"/>
          </a:xfrm>
        </p:grpSpPr>
        <p:sp>
          <p:nvSpPr>
            <p:cNvPr id="414" name="Dropdown Expanded Menu Outline">
              <a:extLst>
                <a:ext uri="{FF2B5EF4-FFF2-40B4-BE49-F238E27FC236}">
                  <a16:creationId xmlns:a16="http://schemas.microsoft.com/office/drawing/2014/main" id="{6C54769E-843E-44E0-9ED1-CE8415B0BACC}"/>
                </a:ext>
              </a:extLst>
            </p:cNvPr>
            <p:cNvSpPr/>
            <p:nvPr/>
          </p:nvSpPr>
          <p:spPr>
            <a:xfrm>
              <a:off x="6093521" y="9551325"/>
              <a:ext cx="920211" cy="582435"/>
            </a:xfrm>
            <a:custGeom>
              <a:avLst/>
              <a:gdLst>
                <a:gd name="connsiteX0" fmla="*/ 0 w 920211"/>
                <a:gd name="connsiteY0" fmla="*/ 0 h 582435"/>
                <a:gd name="connsiteX1" fmla="*/ 441701 w 920211"/>
                <a:gd name="connsiteY1" fmla="*/ 0 h 582435"/>
                <a:gd name="connsiteX2" fmla="*/ 920211 w 920211"/>
                <a:gd name="connsiteY2" fmla="*/ 0 h 582435"/>
                <a:gd name="connsiteX3" fmla="*/ 920211 w 920211"/>
                <a:gd name="connsiteY3" fmla="*/ 582435 h 582435"/>
                <a:gd name="connsiteX4" fmla="*/ 487712 w 920211"/>
                <a:gd name="connsiteY4" fmla="*/ 582435 h 582435"/>
                <a:gd name="connsiteX5" fmla="*/ 0 w 920211"/>
                <a:gd name="connsiteY5" fmla="*/ 582435 h 582435"/>
                <a:gd name="connsiteX6" fmla="*/ 0 w 920211"/>
                <a:gd name="connsiteY6" fmla="*/ 0 h 58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0211" h="582435" fill="none" extrusionOk="0">
                  <a:moveTo>
                    <a:pt x="0" y="0"/>
                  </a:moveTo>
                  <a:cubicBezTo>
                    <a:pt x="181379" y="-15359"/>
                    <a:pt x="283351" y="-13268"/>
                    <a:pt x="441701" y="0"/>
                  </a:cubicBezTo>
                  <a:cubicBezTo>
                    <a:pt x="600051" y="13268"/>
                    <a:pt x="740714" y="-17679"/>
                    <a:pt x="920211" y="0"/>
                  </a:cubicBezTo>
                  <a:cubicBezTo>
                    <a:pt x="924990" y="140435"/>
                    <a:pt x="936922" y="291689"/>
                    <a:pt x="920211" y="582435"/>
                  </a:cubicBezTo>
                  <a:cubicBezTo>
                    <a:pt x="705547" y="595091"/>
                    <a:pt x="638446" y="582723"/>
                    <a:pt x="487712" y="582435"/>
                  </a:cubicBezTo>
                  <a:cubicBezTo>
                    <a:pt x="336978" y="582147"/>
                    <a:pt x="183461" y="580483"/>
                    <a:pt x="0" y="582435"/>
                  </a:cubicBezTo>
                  <a:cubicBezTo>
                    <a:pt x="-12168" y="421648"/>
                    <a:pt x="-18952" y="136787"/>
                    <a:pt x="0" y="0"/>
                  </a:cubicBezTo>
                  <a:close/>
                </a:path>
                <a:path w="920211" h="582435" stroke="0" extrusionOk="0">
                  <a:moveTo>
                    <a:pt x="0" y="0"/>
                  </a:moveTo>
                  <a:cubicBezTo>
                    <a:pt x="101890" y="-17905"/>
                    <a:pt x="230257" y="14873"/>
                    <a:pt x="450903" y="0"/>
                  </a:cubicBezTo>
                  <a:cubicBezTo>
                    <a:pt x="671549" y="-14873"/>
                    <a:pt x="689039" y="8722"/>
                    <a:pt x="920211" y="0"/>
                  </a:cubicBezTo>
                  <a:cubicBezTo>
                    <a:pt x="939081" y="288108"/>
                    <a:pt x="922137" y="457735"/>
                    <a:pt x="920211" y="582435"/>
                  </a:cubicBezTo>
                  <a:cubicBezTo>
                    <a:pt x="774592" y="569598"/>
                    <a:pt x="678804" y="569161"/>
                    <a:pt x="487712" y="582435"/>
                  </a:cubicBezTo>
                  <a:cubicBezTo>
                    <a:pt x="296620" y="595709"/>
                    <a:pt x="224270" y="593788"/>
                    <a:pt x="0" y="582435"/>
                  </a:cubicBezTo>
                  <a:cubicBezTo>
                    <a:pt x="18501" y="340266"/>
                    <a:pt x="-7328" y="279691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595959"/>
              </a:solidFill>
              <a:extLst>
                <a:ext uri="{C807C97D-BFC1-408E-A445-0C87EB9F89A2}">
                  <ask:lineSketchStyleProps xmlns:ask="http://schemas.microsoft.com/office/drawing/2018/sketchyshapes" sd="3114927656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5" name="Highlighted Option Text 2">
              <a:extLst>
                <a:ext uri="{FF2B5EF4-FFF2-40B4-BE49-F238E27FC236}">
                  <a16:creationId xmlns:a16="http://schemas.microsoft.com/office/drawing/2014/main" id="{83A2ECCA-000C-4518-979A-5D92D33DD61D}"/>
                </a:ext>
              </a:extLst>
            </p:cNvPr>
            <p:cNvSpPr/>
            <p:nvPr/>
          </p:nvSpPr>
          <p:spPr>
            <a:xfrm>
              <a:off x="6094533" y="9748302"/>
              <a:ext cx="917418" cy="205389"/>
            </a:xfrm>
            <a:custGeom>
              <a:avLst/>
              <a:gdLst>
                <a:gd name="connsiteX0" fmla="*/ 0 w 917418"/>
                <a:gd name="connsiteY0" fmla="*/ 0 h 205389"/>
                <a:gd name="connsiteX1" fmla="*/ 449535 w 917418"/>
                <a:gd name="connsiteY1" fmla="*/ 0 h 205389"/>
                <a:gd name="connsiteX2" fmla="*/ 917418 w 917418"/>
                <a:gd name="connsiteY2" fmla="*/ 0 h 205389"/>
                <a:gd name="connsiteX3" fmla="*/ 917418 w 917418"/>
                <a:gd name="connsiteY3" fmla="*/ 205389 h 205389"/>
                <a:gd name="connsiteX4" fmla="*/ 449535 w 917418"/>
                <a:gd name="connsiteY4" fmla="*/ 205389 h 205389"/>
                <a:gd name="connsiteX5" fmla="*/ 0 w 917418"/>
                <a:gd name="connsiteY5" fmla="*/ 205389 h 205389"/>
                <a:gd name="connsiteX6" fmla="*/ 0 w 917418"/>
                <a:gd name="connsiteY6" fmla="*/ 0 h 205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7418" h="205389" fill="none" extrusionOk="0">
                  <a:moveTo>
                    <a:pt x="0" y="0"/>
                  </a:moveTo>
                  <a:cubicBezTo>
                    <a:pt x="175941" y="21356"/>
                    <a:pt x="310163" y="5276"/>
                    <a:pt x="449535" y="0"/>
                  </a:cubicBezTo>
                  <a:cubicBezTo>
                    <a:pt x="588907" y="-5276"/>
                    <a:pt x="819228" y="-22947"/>
                    <a:pt x="917418" y="0"/>
                  </a:cubicBezTo>
                  <a:cubicBezTo>
                    <a:pt x="921228" y="98064"/>
                    <a:pt x="914618" y="110313"/>
                    <a:pt x="917418" y="205389"/>
                  </a:cubicBezTo>
                  <a:cubicBezTo>
                    <a:pt x="818107" y="223808"/>
                    <a:pt x="589172" y="190865"/>
                    <a:pt x="449535" y="205389"/>
                  </a:cubicBezTo>
                  <a:cubicBezTo>
                    <a:pt x="309898" y="219913"/>
                    <a:pt x="131162" y="193590"/>
                    <a:pt x="0" y="205389"/>
                  </a:cubicBezTo>
                  <a:cubicBezTo>
                    <a:pt x="3819" y="122069"/>
                    <a:pt x="-289" y="70001"/>
                    <a:pt x="0" y="0"/>
                  </a:cubicBezTo>
                  <a:close/>
                </a:path>
                <a:path w="917418" h="205389" stroke="0" extrusionOk="0">
                  <a:moveTo>
                    <a:pt x="0" y="0"/>
                  </a:moveTo>
                  <a:cubicBezTo>
                    <a:pt x="100004" y="-20816"/>
                    <a:pt x="294500" y="11473"/>
                    <a:pt x="477057" y="0"/>
                  </a:cubicBezTo>
                  <a:cubicBezTo>
                    <a:pt x="659614" y="-11473"/>
                    <a:pt x="757052" y="9732"/>
                    <a:pt x="917418" y="0"/>
                  </a:cubicBezTo>
                  <a:cubicBezTo>
                    <a:pt x="910435" y="82977"/>
                    <a:pt x="915276" y="141057"/>
                    <a:pt x="917418" y="205389"/>
                  </a:cubicBezTo>
                  <a:cubicBezTo>
                    <a:pt x="790211" y="216613"/>
                    <a:pt x="607234" y="199123"/>
                    <a:pt x="449535" y="205389"/>
                  </a:cubicBezTo>
                  <a:cubicBezTo>
                    <a:pt x="291836" y="211655"/>
                    <a:pt x="201222" y="225165"/>
                    <a:pt x="0" y="205389"/>
                  </a:cubicBezTo>
                  <a:cubicBezTo>
                    <a:pt x="-6331" y="120122"/>
                    <a:pt x="-2965" y="42216"/>
                    <a:pt x="0" y="0"/>
                  </a:cubicBezTo>
                  <a:close/>
                </a:path>
              </a:pathLst>
            </a:custGeom>
            <a:solidFill>
              <a:srgbClr val="F2F2F2">
                <a:alpha val="80000"/>
              </a:srgbClr>
            </a:solidFill>
            <a:ln>
              <a:solidFill>
                <a:srgbClr val="595959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00337104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6" name="Option Text 3">
              <a:extLst>
                <a:ext uri="{FF2B5EF4-FFF2-40B4-BE49-F238E27FC236}">
                  <a16:creationId xmlns:a16="http://schemas.microsoft.com/office/drawing/2014/main" id="{0545649F-7529-4EC5-B288-057B5DF0A43D}"/>
                </a:ext>
              </a:extLst>
            </p:cNvPr>
            <p:cNvSpPr txBox="1"/>
            <p:nvPr/>
          </p:nvSpPr>
          <p:spPr>
            <a:xfrm>
              <a:off x="6115275" y="9964871"/>
              <a:ext cx="854598" cy="17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Item 3</a:t>
              </a:r>
            </a:p>
          </p:txBody>
        </p:sp>
        <p:sp>
          <p:nvSpPr>
            <p:cNvPr id="417" name="Option Text 2">
              <a:extLst>
                <a:ext uri="{FF2B5EF4-FFF2-40B4-BE49-F238E27FC236}">
                  <a16:creationId xmlns:a16="http://schemas.microsoft.com/office/drawing/2014/main" id="{57CEDD32-A7CE-4684-8D65-AA1D089E7648}"/>
                </a:ext>
              </a:extLst>
            </p:cNvPr>
            <p:cNvSpPr txBox="1"/>
            <p:nvPr/>
          </p:nvSpPr>
          <p:spPr>
            <a:xfrm>
              <a:off x="6115276" y="9766399"/>
              <a:ext cx="857515" cy="17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1">
                      <a:lumMod val="50000"/>
                    </a:schemeClr>
                  </a:solidFill>
                </a:rPr>
                <a:t>Item 2</a:t>
              </a:r>
            </a:p>
          </p:txBody>
        </p:sp>
        <p:sp>
          <p:nvSpPr>
            <p:cNvPr id="418" name="Option Text 1">
              <a:extLst>
                <a:ext uri="{FF2B5EF4-FFF2-40B4-BE49-F238E27FC236}">
                  <a16:creationId xmlns:a16="http://schemas.microsoft.com/office/drawing/2014/main" id="{D9BAFCB7-F384-447A-87C8-C679FE0DDA12}"/>
                </a:ext>
              </a:extLst>
            </p:cNvPr>
            <p:cNvSpPr txBox="1"/>
            <p:nvPr/>
          </p:nvSpPr>
          <p:spPr>
            <a:xfrm>
              <a:off x="6114264" y="9572022"/>
              <a:ext cx="858527" cy="17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Item 1</a:t>
              </a:r>
            </a:p>
          </p:txBody>
        </p:sp>
        <p:sp>
          <p:nvSpPr>
            <p:cNvPr id="408" name="Dropdown Box">
              <a:extLst>
                <a:ext uri="{FF2B5EF4-FFF2-40B4-BE49-F238E27FC236}">
                  <a16:creationId xmlns:a16="http://schemas.microsoft.com/office/drawing/2014/main" id="{6532AA91-3C07-43B8-BA3D-0F04290D5B40}"/>
                </a:ext>
              </a:extLst>
            </p:cNvPr>
            <p:cNvSpPr/>
            <p:nvPr/>
          </p:nvSpPr>
          <p:spPr>
            <a:xfrm>
              <a:off x="6091317" y="9386699"/>
              <a:ext cx="923544" cy="180781"/>
            </a:xfrm>
            <a:custGeom>
              <a:avLst/>
              <a:gdLst>
                <a:gd name="connsiteX0" fmla="*/ 0 w 923544"/>
                <a:gd name="connsiteY0" fmla="*/ 14661 h 180781"/>
                <a:gd name="connsiteX1" fmla="*/ 14661 w 923544"/>
                <a:gd name="connsiteY1" fmla="*/ 0 h 180781"/>
                <a:gd name="connsiteX2" fmla="*/ 443888 w 923544"/>
                <a:gd name="connsiteY2" fmla="*/ 0 h 180781"/>
                <a:gd name="connsiteX3" fmla="*/ 908883 w 923544"/>
                <a:gd name="connsiteY3" fmla="*/ 0 h 180781"/>
                <a:gd name="connsiteX4" fmla="*/ 923544 w 923544"/>
                <a:gd name="connsiteY4" fmla="*/ 14661 h 180781"/>
                <a:gd name="connsiteX5" fmla="*/ 923544 w 923544"/>
                <a:gd name="connsiteY5" fmla="*/ 166120 h 180781"/>
                <a:gd name="connsiteX6" fmla="*/ 908883 w 923544"/>
                <a:gd name="connsiteY6" fmla="*/ 180781 h 180781"/>
                <a:gd name="connsiteX7" fmla="*/ 443888 w 923544"/>
                <a:gd name="connsiteY7" fmla="*/ 180781 h 180781"/>
                <a:gd name="connsiteX8" fmla="*/ 14661 w 923544"/>
                <a:gd name="connsiteY8" fmla="*/ 180781 h 180781"/>
                <a:gd name="connsiteX9" fmla="*/ 0 w 923544"/>
                <a:gd name="connsiteY9" fmla="*/ 166120 h 180781"/>
                <a:gd name="connsiteX10" fmla="*/ 0 w 923544"/>
                <a:gd name="connsiteY10" fmla="*/ 14661 h 180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3544" h="180781" fill="none" extrusionOk="0">
                  <a:moveTo>
                    <a:pt x="0" y="14661"/>
                  </a:moveTo>
                  <a:cubicBezTo>
                    <a:pt x="37" y="6015"/>
                    <a:pt x="6029" y="942"/>
                    <a:pt x="14661" y="0"/>
                  </a:cubicBezTo>
                  <a:cubicBezTo>
                    <a:pt x="225520" y="-20467"/>
                    <a:pt x="259555" y="-9009"/>
                    <a:pt x="443888" y="0"/>
                  </a:cubicBezTo>
                  <a:cubicBezTo>
                    <a:pt x="628221" y="9009"/>
                    <a:pt x="705076" y="-15336"/>
                    <a:pt x="908883" y="0"/>
                  </a:cubicBezTo>
                  <a:cubicBezTo>
                    <a:pt x="916502" y="127"/>
                    <a:pt x="923705" y="4777"/>
                    <a:pt x="923544" y="14661"/>
                  </a:cubicBezTo>
                  <a:cubicBezTo>
                    <a:pt x="920997" y="49049"/>
                    <a:pt x="925180" y="103088"/>
                    <a:pt x="923544" y="166120"/>
                  </a:cubicBezTo>
                  <a:cubicBezTo>
                    <a:pt x="922898" y="175798"/>
                    <a:pt x="917743" y="182065"/>
                    <a:pt x="908883" y="180781"/>
                  </a:cubicBezTo>
                  <a:cubicBezTo>
                    <a:pt x="754184" y="184280"/>
                    <a:pt x="631646" y="179084"/>
                    <a:pt x="443888" y="180781"/>
                  </a:cubicBezTo>
                  <a:cubicBezTo>
                    <a:pt x="256130" y="182478"/>
                    <a:pt x="226421" y="191123"/>
                    <a:pt x="14661" y="180781"/>
                  </a:cubicBezTo>
                  <a:cubicBezTo>
                    <a:pt x="6581" y="182503"/>
                    <a:pt x="936" y="173938"/>
                    <a:pt x="0" y="166120"/>
                  </a:cubicBezTo>
                  <a:cubicBezTo>
                    <a:pt x="2069" y="117258"/>
                    <a:pt x="4963" y="46189"/>
                    <a:pt x="0" y="14661"/>
                  </a:cubicBezTo>
                  <a:close/>
                </a:path>
                <a:path w="923544" h="180781" stroke="0" extrusionOk="0">
                  <a:moveTo>
                    <a:pt x="0" y="14661"/>
                  </a:moveTo>
                  <a:cubicBezTo>
                    <a:pt x="933" y="4800"/>
                    <a:pt x="6115" y="867"/>
                    <a:pt x="14661" y="0"/>
                  </a:cubicBezTo>
                  <a:cubicBezTo>
                    <a:pt x="196028" y="-9527"/>
                    <a:pt x="294155" y="-17851"/>
                    <a:pt x="470714" y="0"/>
                  </a:cubicBezTo>
                  <a:cubicBezTo>
                    <a:pt x="647273" y="17851"/>
                    <a:pt x="708445" y="-2157"/>
                    <a:pt x="908883" y="0"/>
                  </a:cubicBezTo>
                  <a:cubicBezTo>
                    <a:pt x="917758" y="-218"/>
                    <a:pt x="924384" y="7216"/>
                    <a:pt x="923544" y="14661"/>
                  </a:cubicBezTo>
                  <a:cubicBezTo>
                    <a:pt x="926865" y="88328"/>
                    <a:pt x="927415" y="121714"/>
                    <a:pt x="923544" y="166120"/>
                  </a:cubicBezTo>
                  <a:cubicBezTo>
                    <a:pt x="921827" y="173979"/>
                    <a:pt x="916402" y="181129"/>
                    <a:pt x="908883" y="180781"/>
                  </a:cubicBezTo>
                  <a:cubicBezTo>
                    <a:pt x="797575" y="196445"/>
                    <a:pt x="558529" y="199429"/>
                    <a:pt x="443888" y="180781"/>
                  </a:cubicBezTo>
                  <a:cubicBezTo>
                    <a:pt x="329247" y="162133"/>
                    <a:pt x="124753" y="165452"/>
                    <a:pt x="14661" y="180781"/>
                  </a:cubicBezTo>
                  <a:cubicBezTo>
                    <a:pt x="6286" y="181899"/>
                    <a:pt x="-1081" y="174108"/>
                    <a:pt x="0" y="166120"/>
                  </a:cubicBezTo>
                  <a:cubicBezTo>
                    <a:pt x="-2531" y="122490"/>
                    <a:pt x="7444" y="84285"/>
                    <a:pt x="0" y="14661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811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9" name="Dropdown Icon Background">
              <a:extLst>
                <a:ext uri="{FF2B5EF4-FFF2-40B4-BE49-F238E27FC236}">
                  <a16:creationId xmlns:a16="http://schemas.microsoft.com/office/drawing/2014/main" id="{B1ED7F12-9319-48B3-875F-136B6D8B4FA7}"/>
                </a:ext>
              </a:extLst>
            </p:cNvPr>
            <p:cNvSpPr/>
            <p:nvPr/>
          </p:nvSpPr>
          <p:spPr>
            <a:xfrm>
              <a:off x="6806748" y="9386699"/>
              <a:ext cx="207226" cy="180781"/>
            </a:xfrm>
            <a:custGeom>
              <a:avLst/>
              <a:gdLst>
                <a:gd name="connsiteX0" fmla="*/ 0 w 207226"/>
                <a:gd name="connsiteY0" fmla="*/ 7895 h 180781"/>
                <a:gd name="connsiteX1" fmla="*/ 7895 w 207226"/>
                <a:gd name="connsiteY1" fmla="*/ 0 h 180781"/>
                <a:gd name="connsiteX2" fmla="*/ 199331 w 207226"/>
                <a:gd name="connsiteY2" fmla="*/ 0 h 180781"/>
                <a:gd name="connsiteX3" fmla="*/ 207226 w 207226"/>
                <a:gd name="connsiteY3" fmla="*/ 7895 h 180781"/>
                <a:gd name="connsiteX4" fmla="*/ 207226 w 207226"/>
                <a:gd name="connsiteY4" fmla="*/ 172886 h 180781"/>
                <a:gd name="connsiteX5" fmla="*/ 199331 w 207226"/>
                <a:gd name="connsiteY5" fmla="*/ 180781 h 180781"/>
                <a:gd name="connsiteX6" fmla="*/ 7895 w 207226"/>
                <a:gd name="connsiteY6" fmla="*/ 180781 h 180781"/>
                <a:gd name="connsiteX7" fmla="*/ 0 w 207226"/>
                <a:gd name="connsiteY7" fmla="*/ 172886 h 180781"/>
                <a:gd name="connsiteX8" fmla="*/ 0 w 207226"/>
                <a:gd name="connsiteY8" fmla="*/ 7895 h 180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7226" h="180781" fill="none" extrusionOk="0">
                  <a:moveTo>
                    <a:pt x="0" y="7895"/>
                  </a:moveTo>
                  <a:cubicBezTo>
                    <a:pt x="-497" y="3426"/>
                    <a:pt x="3611" y="-729"/>
                    <a:pt x="7895" y="0"/>
                  </a:cubicBezTo>
                  <a:cubicBezTo>
                    <a:pt x="54353" y="2720"/>
                    <a:pt x="160450" y="-3801"/>
                    <a:pt x="199331" y="0"/>
                  </a:cubicBezTo>
                  <a:cubicBezTo>
                    <a:pt x="204111" y="897"/>
                    <a:pt x="207582" y="4473"/>
                    <a:pt x="207226" y="7895"/>
                  </a:cubicBezTo>
                  <a:cubicBezTo>
                    <a:pt x="209126" y="51158"/>
                    <a:pt x="208433" y="131317"/>
                    <a:pt x="207226" y="172886"/>
                  </a:cubicBezTo>
                  <a:cubicBezTo>
                    <a:pt x="206832" y="177351"/>
                    <a:pt x="203723" y="180430"/>
                    <a:pt x="199331" y="180781"/>
                  </a:cubicBezTo>
                  <a:cubicBezTo>
                    <a:pt x="124879" y="181332"/>
                    <a:pt x="93710" y="185334"/>
                    <a:pt x="7895" y="180781"/>
                  </a:cubicBezTo>
                  <a:cubicBezTo>
                    <a:pt x="3251" y="181475"/>
                    <a:pt x="394" y="177909"/>
                    <a:pt x="0" y="172886"/>
                  </a:cubicBezTo>
                  <a:cubicBezTo>
                    <a:pt x="7972" y="102966"/>
                    <a:pt x="1480" y="81027"/>
                    <a:pt x="0" y="7895"/>
                  </a:cubicBezTo>
                  <a:close/>
                </a:path>
                <a:path w="207226" h="180781" stroke="0" extrusionOk="0">
                  <a:moveTo>
                    <a:pt x="0" y="7895"/>
                  </a:moveTo>
                  <a:cubicBezTo>
                    <a:pt x="164" y="3226"/>
                    <a:pt x="3076" y="887"/>
                    <a:pt x="7895" y="0"/>
                  </a:cubicBezTo>
                  <a:cubicBezTo>
                    <a:pt x="47096" y="-3513"/>
                    <a:pt x="135632" y="4631"/>
                    <a:pt x="199331" y="0"/>
                  </a:cubicBezTo>
                  <a:cubicBezTo>
                    <a:pt x="202944" y="-33"/>
                    <a:pt x="207381" y="2607"/>
                    <a:pt x="207226" y="7895"/>
                  </a:cubicBezTo>
                  <a:cubicBezTo>
                    <a:pt x="208956" y="51080"/>
                    <a:pt x="211880" y="122579"/>
                    <a:pt x="207226" y="172886"/>
                  </a:cubicBezTo>
                  <a:cubicBezTo>
                    <a:pt x="207601" y="178221"/>
                    <a:pt x="203562" y="179932"/>
                    <a:pt x="199331" y="180781"/>
                  </a:cubicBezTo>
                  <a:cubicBezTo>
                    <a:pt x="113962" y="174122"/>
                    <a:pt x="85581" y="182848"/>
                    <a:pt x="7895" y="180781"/>
                  </a:cubicBezTo>
                  <a:cubicBezTo>
                    <a:pt x="3530" y="180176"/>
                    <a:pt x="-34" y="176391"/>
                    <a:pt x="0" y="172886"/>
                  </a:cubicBezTo>
                  <a:cubicBezTo>
                    <a:pt x="-7539" y="136262"/>
                    <a:pt x="4538" y="65189"/>
                    <a:pt x="0" y="789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36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" name="Dropdown Text">
              <a:extLst>
                <a:ext uri="{FF2B5EF4-FFF2-40B4-BE49-F238E27FC236}">
                  <a16:creationId xmlns:a16="http://schemas.microsoft.com/office/drawing/2014/main" id="{AD669CCA-72E9-41B5-8A48-987304E3E0F2}"/>
                </a:ext>
              </a:extLst>
            </p:cNvPr>
            <p:cNvSpPr txBox="1"/>
            <p:nvPr/>
          </p:nvSpPr>
          <p:spPr>
            <a:xfrm>
              <a:off x="6109005" y="9386753"/>
              <a:ext cx="625947" cy="17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lect</a:t>
              </a:r>
            </a:p>
          </p:txBody>
        </p:sp>
        <p:grpSp>
          <p:nvGrpSpPr>
            <p:cNvPr id="411" name="Dropdown Icon">
              <a:extLst>
                <a:ext uri="{FF2B5EF4-FFF2-40B4-BE49-F238E27FC236}">
                  <a16:creationId xmlns:a16="http://schemas.microsoft.com/office/drawing/2014/main" id="{51D7B79E-4105-4484-9181-7ED32E295021}"/>
                </a:ext>
              </a:extLst>
            </p:cNvPr>
            <p:cNvGrpSpPr/>
            <p:nvPr/>
          </p:nvGrpSpPr>
          <p:grpSpPr>
            <a:xfrm rot="2746039" flipH="1">
              <a:off x="6883959" y="9450289"/>
              <a:ext cx="59418" cy="62151"/>
              <a:chOff x="1480955" y="3194964"/>
              <a:chExt cx="182924" cy="191600"/>
            </a:xfrm>
          </p:grpSpPr>
          <p:cxnSp>
            <p:nvCxnSpPr>
              <p:cNvPr id="412" name="Line 2">
                <a:extLst>
                  <a:ext uri="{FF2B5EF4-FFF2-40B4-BE49-F238E27FC236}">
                    <a16:creationId xmlns:a16="http://schemas.microsoft.com/office/drawing/2014/main" id="{52E2D549-8709-4169-96F3-72FB29BF952C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rgbClr val="59595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Line 1">
                <a:extLst>
                  <a:ext uri="{FF2B5EF4-FFF2-40B4-BE49-F238E27FC236}">
                    <a16:creationId xmlns:a16="http://schemas.microsoft.com/office/drawing/2014/main" id="{7BA062E1-2EC7-475E-ACD6-29C142F5914A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rgbClr val="59595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2" name="Menu 1">
            <a:extLst>
              <a:ext uri="{FF2B5EF4-FFF2-40B4-BE49-F238E27FC236}">
                <a16:creationId xmlns:a16="http://schemas.microsoft.com/office/drawing/2014/main" id="{35AED392-5256-4C04-9193-12870CB19CDE}"/>
              </a:ext>
            </a:extLst>
          </p:cNvPr>
          <p:cNvGrpSpPr/>
          <p:nvPr/>
        </p:nvGrpSpPr>
        <p:grpSpPr>
          <a:xfrm>
            <a:off x="4688815" y="6023455"/>
            <a:ext cx="3090672" cy="283464"/>
            <a:chOff x="586017" y="1631903"/>
            <a:chExt cx="4330789" cy="254416"/>
          </a:xfrm>
        </p:grpSpPr>
        <p:sp>
          <p:nvSpPr>
            <p:cNvPr id="334" name="Menu 1 Background">
              <a:extLst>
                <a:ext uri="{FF2B5EF4-FFF2-40B4-BE49-F238E27FC236}">
                  <a16:creationId xmlns:a16="http://schemas.microsoft.com/office/drawing/2014/main" id="{7090682E-1845-4E98-91D9-5AF2520F033C}"/>
                </a:ext>
              </a:extLst>
            </p:cNvPr>
            <p:cNvSpPr/>
            <p:nvPr/>
          </p:nvSpPr>
          <p:spPr>
            <a:xfrm>
              <a:off x="586017" y="1633459"/>
              <a:ext cx="4330789" cy="240894"/>
            </a:xfrm>
            <a:custGeom>
              <a:avLst/>
              <a:gdLst>
                <a:gd name="connsiteX0" fmla="*/ 0 w 4330789"/>
                <a:gd name="connsiteY0" fmla="*/ 0 h 240894"/>
                <a:gd name="connsiteX1" fmla="*/ 575376 w 4330789"/>
                <a:gd name="connsiteY1" fmla="*/ 0 h 240894"/>
                <a:gd name="connsiteX2" fmla="*/ 1064137 w 4330789"/>
                <a:gd name="connsiteY2" fmla="*/ 0 h 240894"/>
                <a:gd name="connsiteX3" fmla="*/ 1596205 w 4330789"/>
                <a:gd name="connsiteY3" fmla="*/ 0 h 240894"/>
                <a:gd name="connsiteX4" fmla="*/ 2258197 w 4330789"/>
                <a:gd name="connsiteY4" fmla="*/ 0 h 240894"/>
                <a:gd name="connsiteX5" fmla="*/ 2833573 w 4330789"/>
                <a:gd name="connsiteY5" fmla="*/ 0 h 240894"/>
                <a:gd name="connsiteX6" fmla="*/ 3365642 w 4330789"/>
                <a:gd name="connsiteY6" fmla="*/ 0 h 240894"/>
                <a:gd name="connsiteX7" fmla="*/ 4330789 w 4330789"/>
                <a:gd name="connsiteY7" fmla="*/ 0 h 240894"/>
                <a:gd name="connsiteX8" fmla="*/ 4330789 w 4330789"/>
                <a:gd name="connsiteY8" fmla="*/ 240894 h 240894"/>
                <a:gd name="connsiteX9" fmla="*/ 3712105 w 4330789"/>
                <a:gd name="connsiteY9" fmla="*/ 240894 h 240894"/>
                <a:gd name="connsiteX10" fmla="*/ 3180036 w 4330789"/>
                <a:gd name="connsiteY10" fmla="*/ 240894 h 240894"/>
                <a:gd name="connsiteX11" fmla="*/ 2474737 w 4330789"/>
                <a:gd name="connsiteY11" fmla="*/ 240894 h 240894"/>
                <a:gd name="connsiteX12" fmla="*/ 1899360 w 4330789"/>
                <a:gd name="connsiteY12" fmla="*/ 240894 h 240894"/>
                <a:gd name="connsiteX13" fmla="*/ 1410600 w 4330789"/>
                <a:gd name="connsiteY13" fmla="*/ 240894 h 240894"/>
                <a:gd name="connsiteX14" fmla="*/ 748608 w 4330789"/>
                <a:gd name="connsiteY14" fmla="*/ 240894 h 240894"/>
                <a:gd name="connsiteX15" fmla="*/ 0 w 4330789"/>
                <a:gd name="connsiteY15" fmla="*/ 240894 h 240894"/>
                <a:gd name="connsiteX16" fmla="*/ 0 w 4330789"/>
                <a:gd name="connsiteY16" fmla="*/ 0 h 24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30789" h="240894" fill="none" extrusionOk="0">
                  <a:moveTo>
                    <a:pt x="0" y="0"/>
                  </a:moveTo>
                  <a:cubicBezTo>
                    <a:pt x="285796" y="-25887"/>
                    <a:pt x="393587" y="10882"/>
                    <a:pt x="575376" y="0"/>
                  </a:cubicBezTo>
                  <a:cubicBezTo>
                    <a:pt x="757165" y="-10882"/>
                    <a:pt x="848157" y="-5311"/>
                    <a:pt x="1064137" y="0"/>
                  </a:cubicBezTo>
                  <a:cubicBezTo>
                    <a:pt x="1280117" y="5311"/>
                    <a:pt x="1331528" y="-2738"/>
                    <a:pt x="1596205" y="0"/>
                  </a:cubicBezTo>
                  <a:cubicBezTo>
                    <a:pt x="1860882" y="2738"/>
                    <a:pt x="2000181" y="10610"/>
                    <a:pt x="2258197" y="0"/>
                  </a:cubicBezTo>
                  <a:cubicBezTo>
                    <a:pt x="2516213" y="-10610"/>
                    <a:pt x="2678418" y="15827"/>
                    <a:pt x="2833573" y="0"/>
                  </a:cubicBezTo>
                  <a:cubicBezTo>
                    <a:pt x="2988728" y="-15827"/>
                    <a:pt x="3195282" y="-17405"/>
                    <a:pt x="3365642" y="0"/>
                  </a:cubicBezTo>
                  <a:cubicBezTo>
                    <a:pt x="3536002" y="17405"/>
                    <a:pt x="3902671" y="-555"/>
                    <a:pt x="4330789" y="0"/>
                  </a:cubicBezTo>
                  <a:cubicBezTo>
                    <a:pt x="4320234" y="112225"/>
                    <a:pt x="4328656" y="186029"/>
                    <a:pt x="4330789" y="240894"/>
                  </a:cubicBezTo>
                  <a:cubicBezTo>
                    <a:pt x="4022377" y="241889"/>
                    <a:pt x="4002585" y="266327"/>
                    <a:pt x="3712105" y="240894"/>
                  </a:cubicBezTo>
                  <a:cubicBezTo>
                    <a:pt x="3421625" y="215461"/>
                    <a:pt x="3419122" y="259873"/>
                    <a:pt x="3180036" y="240894"/>
                  </a:cubicBezTo>
                  <a:cubicBezTo>
                    <a:pt x="2940950" y="221915"/>
                    <a:pt x="2716897" y="248722"/>
                    <a:pt x="2474737" y="240894"/>
                  </a:cubicBezTo>
                  <a:cubicBezTo>
                    <a:pt x="2232577" y="233066"/>
                    <a:pt x="2178946" y="232415"/>
                    <a:pt x="1899360" y="240894"/>
                  </a:cubicBezTo>
                  <a:cubicBezTo>
                    <a:pt x="1619774" y="249373"/>
                    <a:pt x="1548132" y="241059"/>
                    <a:pt x="1410600" y="240894"/>
                  </a:cubicBezTo>
                  <a:cubicBezTo>
                    <a:pt x="1273068" y="240729"/>
                    <a:pt x="1066041" y="222198"/>
                    <a:pt x="748608" y="240894"/>
                  </a:cubicBezTo>
                  <a:cubicBezTo>
                    <a:pt x="431175" y="259590"/>
                    <a:pt x="333882" y="242336"/>
                    <a:pt x="0" y="240894"/>
                  </a:cubicBezTo>
                  <a:cubicBezTo>
                    <a:pt x="-4599" y="171591"/>
                    <a:pt x="-9741" y="72916"/>
                    <a:pt x="0" y="0"/>
                  </a:cubicBezTo>
                  <a:close/>
                </a:path>
                <a:path w="4330789" h="240894" stroke="0" extrusionOk="0">
                  <a:moveTo>
                    <a:pt x="0" y="0"/>
                  </a:moveTo>
                  <a:cubicBezTo>
                    <a:pt x="211174" y="9023"/>
                    <a:pt x="379325" y="-23022"/>
                    <a:pt x="575376" y="0"/>
                  </a:cubicBezTo>
                  <a:cubicBezTo>
                    <a:pt x="771427" y="23022"/>
                    <a:pt x="912310" y="14333"/>
                    <a:pt x="1064137" y="0"/>
                  </a:cubicBezTo>
                  <a:cubicBezTo>
                    <a:pt x="1215964" y="-14333"/>
                    <a:pt x="1482893" y="34136"/>
                    <a:pt x="1769437" y="0"/>
                  </a:cubicBezTo>
                  <a:cubicBezTo>
                    <a:pt x="2055981" y="-34136"/>
                    <a:pt x="2111151" y="16588"/>
                    <a:pt x="2344813" y="0"/>
                  </a:cubicBezTo>
                  <a:cubicBezTo>
                    <a:pt x="2578475" y="-16588"/>
                    <a:pt x="2654166" y="6368"/>
                    <a:pt x="2920189" y="0"/>
                  </a:cubicBezTo>
                  <a:cubicBezTo>
                    <a:pt x="3186212" y="-6368"/>
                    <a:pt x="3348550" y="31216"/>
                    <a:pt x="3625489" y="0"/>
                  </a:cubicBezTo>
                  <a:cubicBezTo>
                    <a:pt x="3902428" y="-31216"/>
                    <a:pt x="4172090" y="-888"/>
                    <a:pt x="4330789" y="0"/>
                  </a:cubicBezTo>
                  <a:cubicBezTo>
                    <a:pt x="4330905" y="97993"/>
                    <a:pt x="4319423" y="144488"/>
                    <a:pt x="4330789" y="240894"/>
                  </a:cubicBezTo>
                  <a:cubicBezTo>
                    <a:pt x="4116189" y="224752"/>
                    <a:pt x="4037078" y="220457"/>
                    <a:pt x="3798721" y="240894"/>
                  </a:cubicBezTo>
                  <a:cubicBezTo>
                    <a:pt x="3560364" y="261331"/>
                    <a:pt x="3354336" y="262477"/>
                    <a:pt x="3180036" y="240894"/>
                  </a:cubicBezTo>
                  <a:cubicBezTo>
                    <a:pt x="3005737" y="219311"/>
                    <a:pt x="2690163" y="259644"/>
                    <a:pt x="2561352" y="240894"/>
                  </a:cubicBezTo>
                  <a:cubicBezTo>
                    <a:pt x="2432541" y="222144"/>
                    <a:pt x="2254869" y="265347"/>
                    <a:pt x="1985976" y="240894"/>
                  </a:cubicBezTo>
                  <a:cubicBezTo>
                    <a:pt x="1717083" y="216441"/>
                    <a:pt x="1474895" y="234145"/>
                    <a:pt x="1280676" y="240894"/>
                  </a:cubicBezTo>
                  <a:cubicBezTo>
                    <a:pt x="1086457" y="247643"/>
                    <a:pt x="802796" y="248638"/>
                    <a:pt x="575376" y="240894"/>
                  </a:cubicBezTo>
                  <a:cubicBezTo>
                    <a:pt x="347956" y="233150"/>
                    <a:pt x="154215" y="217337"/>
                    <a:pt x="0" y="240894"/>
                  </a:cubicBezTo>
                  <a:cubicBezTo>
                    <a:pt x="3583" y="145362"/>
                    <a:pt x="80" y="79512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rgbClr val="F2F2F2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5" name="Selected Menu Item Background">
              <a:extLst>
                <a:ext uri="{FF2B5EF4-FFF2-40B4-BE49-F238E27FC236}">
                  <a16:creationId xmlns:a16="http://schemas.microsoft.com/office/drawing/2014/main" id="{7850D7F8-8D30-42A2-A60A-ECBBE87D41C3}"/>
                </a:ext>
              </a:extLst>
            </p:cNvPr>
            <p:cNvSpPr/>
            <p:nvPr/>
          </p:nvSpPr>
          <p:spPr>
            <a:xfrm>
              <a:off x="586017" y="1631903"/>
              <a:ext cx="938387" cy="240756"/>
            </a:xfrm>
            <a:custGeom>
              <a:avLst/>
              <a:gdLst>
                <a:gd name="connsiteX0" fmla="*/ 0 w 938387"/>
                <a:gd name="connsiteY0" fmla="*/ 0 h 240756"/>
                <a:gd name="connsiteX1" fmla="*/ 469194 w 938387"/>
                <a:gd name="connsiteY1" fmla="*/ 0 h 240756"/>
                <a:gd name="connsiteX2" fmla="*/ 938387 w 938387"/>
                <a:gd name="connsiteY2" fmla="*/ 0 h 240756"/>
                <a:gd name="connsiteX3" fmla="*/ 938387 w 938387"/>
                <a:gd name="connsiteY3" fmla="*/ 240756 h 240756"/>
                <a:gd name="connsiteX4" fmla="*/ 459810 w 938387"/>
                <a:gd name="connsiteY4" fmla="*/ 240756 h 240756"/>
                <a:gd name="connsiteX5" fmla="*/ 0 w 938387"/>
                <a:gd name="connsiteY5" fmla="*/ 240756 h 240756"/>
                <a:gd name="connsiteX6" fmla="*/ 0 w 938387"/>
                <a:gd name="connsiteY6" fmla="*/ 0 h 240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8387" h="240756" fill="none" extrusionOk="0">
                  <a:moveTo>
                    <a:pt x="0" y="0"/>
                  </a:moveTo>
                  <a:cubicBezTo>
                    <a:pt x="167419" y="8848"/>
                    <a:pt x="315634" y="11620"/>
                    <a:pt x="469194" y="0"/>
                  </a:cubicBezTo>
                  <a:cubicBezTo>
                    <a:pt x="622754" y="-11620"/>
                    <a:pt x="708577" y="5317"/>
                    <a:pt x="938387" y="0"/>
                  </a:cubicBezTo>
                  <a:cubicBezTo>
                    <a:pt x="935625" y="53445"/>
                    <a:pt x="938507" y="135661"/>
                    <a:pt x="938387" y="240756"/>
                  </a:cubicBezTo>
                  <a:cubicBezTo>
                    <a:pt x="771142" y="229018"/>
                    <a:pt x="567469" y="236771"/>
                    <a:pt x="459810" y="240756"/>
                  </a:cubicBezTo>
                  <a:cubicBezTo>
                    <a:pt x="352151" y="244741"/>
                    <a:pt x="114325" y="222580"/>
                    <a:pt x="0" y="240756"/>
                  </a:cubicBezTo>
                  <a:cubicBezTo>
                    <a:pt x="-3644" y="131748"/>
                    <a:pt x="-6370" y="95137"/>
                    <a:pt x="0" y="0"/>
                  </a:cubicBezTo>
                  <a:close/>
                </a:path>
                <a:path w="938387" h="240756" stroke="0" extrusionOk="0">
                  <a:moveTo>
                    <a:pt x="0" y="0"/>
                  </a:moveTo>
                  <a:cubicBezTo>
                    <a:pt x="138608" y="-9141"/>
                    <a:pt x="348979" y="-6129"/>
                    <a:pt x="487961" y="0"/>
                  </a:cubicBezTo>
                  <a:cubicBezTo>
                    <a:pt x="626943" y="6129"/>
                    <a:pt x="810340" y="-19955"/>
                    <a:pt x="938387" y="0"/>
                  </a:cubicBezTo>
                  <a:cubicBezTo>
                    <a:pt x="940193" y="100620"/>
                    <a:pt x="942680" y="179826"/>
                    <a:pt x="938387" y="240756"/>
                  </a:cubicBezTo>
                  <a:cubicBezTo>
                    <a:pt x="792798" y="240160"/>
                    <a:pt x="653128" y="245881"/>
                    <a:pt x="497345" y="240756"/>
                  </a:cubicBezTo>
                  <a:cubicBezTo>
                    <a:pt x="341562" y="235631"/>
                    <a:pt x="134704" y="232008"/>
                    <a:pt x="0" y="240756"/>
                  </a:cubicBezTo>
                  <a:cubicBezTo>
                    <a:pt x="-6373" y="191502"/>
                    <a:pt x="-1794" y="9809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rgbClr val="595959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559321221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6" name="Menu Item 4">
              <a:extLst>
                <a:ext uri="{FF2B5EF4-FFF2-40B4-BE49-F238E27FC236}">
                  <a16:creationId xmlns:a16="http://schemas.microsoft.com/office/drawing/2014/main" id="{60A9963C-F9EB-4C52-A2C8-2BB8D5FAB522}"/>
                </a:ext>
              </a:extLst>
            </p:cNvPr>
            <p:cNvSpPr txBox="1"/>
            <p:nvPr/>
          </p:nvSpPr>
          <p:spPr>
            <a:xfrm>
              <a:off x="3975590" y="1661889"/>
              <a:ext cx="865430" cy="2140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1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tem 4</a:t>
              </a:r>
            </a:p>
          </p:txBody>
        </p:sp>
        <p:sp>
          <p:nvSpPr>
            <p:cNvPr id="337" name="Menu Item 3">
              <a:extLst>
                <a:ext uri="{FF2B5EF4-FFF2-40B4-BE49-F238E27FC236}">
                  <a16:creationId xmlns:a16="http://schemas.microsoft.com/office/drawing/2014/main" id="{FC619CA5-898C-4435-BE6C-D9777881BD5B}"/>
                </a:ext>
              </a:extLst>
            </p:cNvPr>
            <p:cNvSpPr txBox="1"/>
            <p:nvPr/>
          </p:nvSpPr>
          <p:spPr>
            <a:xfrm>
              <a:off x="2861706" y="1656668"/>
              <a:ext cx="865430" cy="2140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1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tem 3</a:t>
              </a:r>
            </a:p>
          </p:txBody>
        </p:sp>
        <p:sp>
          <p:nvSpPr>
            <p:cNvPr id="338" name="Menu Item 2">
              <a:extLst>
                <a:ext uri="{FF2B5EF4-FFF2-40B4-BE49-F238E27FC236}">
                  <a16:creationId xmlns:a16="http://schemas.microsoft.com/office/drawing/2014/main" id="{03797D09-9340-4199-B9D6-916D5E32192F}"/>
                </a:ext>
              </a:extLst>
            </p:cNvPr>
            <p:cNvSpPr txBox="1"/>
            <p:nvPr/>
          </p:nvSpPr>
          <p:spPr>
            <a:xfrm>
              <a:off x="1752248" y="1656715"/>
              <a:ext cx="865430" cy="2140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1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tem 2</a:t>
              </a:r>
            </a:p>
          </p:txBody>
        </p:sp>
        <p:sp>
          <p:nvSpPr>
            <p:cNvPr id="339" name="Menu Item 1">
              <a:extLst>
                <a:ext uri="{FF2B5EF4-FFF2-40B4-BE49-F238E27FC236}">
                  <a16:creationId xmlns:a16="http://schemas.microsoft.com/office/drawing/2014/main" id="{15B23104-ECD7-455A-A797-48EA5DF1F2E5}"/>
                </a:ext>
              </a:extLst>
            </p:cNvPr>
            <p:cNvSpPr txBox="1"/>
            <p:nvPr/>
          </p:nvSpPr>
          <p:spPr>
            <a:xfrm>
              <a:off x="647984" y="1656424"/>
              <a:ext cx="765668" cy="2140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10" dirty="0">
                  <a:solidFill>
                    <a:schemeClr val="bg1"/>
                  </a:solidFill>
                </a:rPr>
                <a:t>Item 1</a:t>
              </a:r>
            </a:p>
          </p:txBody>
        </p:sp>
        <p:sp>
          <p:nvSpPr>
            <p:cNvPr id="340" name="Rectangle">
              <a:extLst>
                <a:ext uri="{FF2B5EF4-FFF2-40B4-BE49-F238E27FC236}">
                  <a16:creationId xmlns:a16="http://schemas.microsoft.com/office/drawing/2014/main" id="{8681B7C8-5F20-4825-9656-6D632FA6F932}"/>
                </a:ext>
              </a:extLst>
            </p:cNvPr>
            <p:cNvSpPr/>
            <p:nvPr/>
          </p:nvSpPr>
          <p:spPr>
            <a:xfrm>
              <a:off x="586017" y="1868031"/>
              <a:ext cx="4330789" cy="18288"/>
            </a:xfrm>
            <a:custGeom>
              <a:avLst/>
              <a:gdLst>
                <a:gd name="connsiteX0" fmla="*/ 0 w 4330789"/>
                <a:gd name="connsiteY0" fmla="*/ 0 h 18288"/>
                <a:gd name="connsiteX1" fmla="*/ 532068 w 4330789"/>
                <a:gd name="connsiteY1" fmla="*/ 0 h 18288"/>
                <a:gd name="connsiteX2" fmla="*/ 1064137 w 4330789"/>
                <a:gd name="connsiteY2" fmla="*/ 0 h 18288"/>
                <a:gd name="connsiteX3" fmla="*/ 1769437 w 4330789"/>
                <a:gd name="connsiteY3" fmla="*/ 0 h 18288"/>
                <a:gd name="connsiteX4" fmla="*/ 2258197 w 4330789"/>
                <a:gd name="connsiteY4" fmla="*/ 0 h 18288"/>
                <a:gd name="connsiteX5" fmla="*/ 2963497 w 4330789"/>
                <a:gd name="connsiteY5" fmla="*/ 0 h 18288"/>
                <a:gd name="connsiteX6" fmla="*/ 3668797 w 4330789"/>
                <a:gd name="connsiteY6" fmla="*/ 0 h 18288"/>
                <a:gd name="connsiteX7" fmla="*/ 4330789 w 4330789"/>
                <a:gd name="connsiteY7" fmla="*/ 0 h 18288"/>
                <a:gd name="connsiteX8" fmla="*/ 4330789 w 4330789"/>
                <a:gd name="connsiteY8" fmla="*/ 18288 h 18288"/>
                <a:gd name="connsiteX9" fmla="*/ 3712105 w 4330789"/>
                <a:gd name="connsiteY9" fmla="*/ 18288 h 18288"/>
                <a:gd name="connsiteX10" fmla="*/ 3050113 w 4330789"/>
                <a:gd name="connsiteY10" fmla="*/ 18288 h 18288"/>
                <a:gd name="connsiteX11" fmla="*/ 2344813 w 4330789"/>
                <a:gd name="connsiteY11" fmla="*/ 18288 h 18288"/>
                <a:gd name="connsiteX12" fmla="*/ 1639513 w 4330789"/>
                <a:gd name="connsiteY12" fmla="*/ 18288 h 18288"/>
                <a:gd name="connsiteX13" fmla="*/ 1020829 w 4330789"/>
                <a:gd name="connsiteY13" fmla="*/ 18288 h 18288"/>
                <a:gd name="connsiteX14" fmla="*/ 532068 w 4330789"/>
                <a:gd name="connsiteY14" fmla="*/ 18288 h 18288"/>
                <a:gd name="connsiteX15" fmla="*/ 0 w 4330789"/>
                <a:gd name="connsiteY15" fmla="*/ 18288 h 18288"/>
                <a:gd name="connsiteX16" fmla="*/ 0 w 4330789"/>
                <a:gd name="connsiteY16" fmla="*/ 0 h 1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30789" h="18288" fill="none" extrusionOk="0">
                  <a:moveTo>
                    <a:pt x="0" y="0"/>
                  </a:moveTo>
                  <a:cubicBezTo>
                    <a:pt x="123898" y="10615"/>
                    <a:pt x="266157" y="-25982"/>
                    <a:pt x="532068" y="0"/>
                  </a:cubicBezTo>
                  <a:cubicBezTo>
                    <a:pt x="797979" y="25982"/>
                    <a:pt x="841243" y="-17367"/>
                    <a:pt x="1064137" y="0"/>
                  </a:cubicBezTo>
                  <a:cubicBezTo>
                    <a:pt x="1287031" y="17367"/>
                    <a:pt x="1435654" y="26175"/>
                    <a:pt x="1769437" y="0"/>
                  </a:cubicBezTo>
                  <a:cubicBezTo>
                    <a:pt x="2103220" y="-26175"/>
                    <a:pt x="2154986" y="20394"/>
                    <a:pt x="2258197" y="0"/>
                  </a:cubicBezTo>
                  <a:cubicBezTo>
                    <a:pt x="2361408" y="-20394"/>
                    <a:pt x="2620753" y="-4890"/>
                    <a:pt x="2963497" y="0"/>
                  </a:cubicBezTo>
                  <a:cubicBezTo>
                    <a:pt x="3306241" y="4890"/>
                    <a:pt x="3318353" y="-14967"/>
                    <a:pt x="3668797" y="0"/>
                  </a:cubicBezTo>
                  <a:cubicBezTo>
                    <a:pt x="4019241" y="14967"/>
                    <a:pt x="4122028" y="-12103"/>
                    <a:pt x="4330789" y="0"/>
                  </a:cubicBezTo>
                  <a:cubicBezTo>
                    <a:pt x="4329920" y="7867"/>
                    <a:pt x="4331496" y="10749"/>
                    <a:pt x="4330789" y="18288"/>
                  </a:cubicBezTo>
                  <a:cubicBezTo>
                    <a:pt x="4169280" y="-5211"/>
                    <a:pt x="3961373" y="27478"/>
                    <a:pt x="3712105" y="18288"/>
                  </a:cubicBezTo>
                  <a:cubicBezTo>
                    <a:pt x="3462837" y="9098"/>
                    <a:pt x="3216199" y="48476"/>
                    <a:pt x="3050113" y="18288"/>
                  </a:cubicBezTo>
                  <a:cubicBezTo>
                    <a:pt x="2884027" y="-11900"/>
                    <a:pt x="2504139" y="25999"/>
                    <a:pt x="2344813" y="18288"/>
                  </a:cubicBezTo>
                  <a:cubicBezTo>
                    <a:pt x="2185487" y="10577"/>
                    <a:pt x="1881651" y="11434"/>
                    <a:pt x="1639513" y="18288"/>
                  </a:cubicBezTo>
                  <a:cubicBezTo>
                    <a:pt x="1397375" y="25142"/>
                    <a:pt x="1262564" y="1404"/>
                    <a:pt x="1020829" y="18288"/>
                  </a:cubicBezTo>
                  <a:cubicBezTo>
                    <a:pt x="779094" y="35172"/>
                    <a:pt x="692823" y="17907"/>
                    <a:pt x="532068" y="18288"/>
                  </a:cubicBezTo>
                  <a:cubicBezTo>
                    <a:pt x="371313" y="18669"/>
                    <a:pt x="125023" y="27548"/>
                    <a:pt x="0" y="18288"/>
                  </a:cubicBezTo>
                  <a:cubicBezTo>
                    <a:pt x="-584" y="12921"/>
                    <a:pt x="-734" y="7142"/>
                    <a:pt x="0" y="0"/>
                  </a:cubicBezTo>
                  <a:close/>
                </a:path>
                <a:path w="4330789" h="18288" stroke="0" extrusionOk="0">
                  <a:moveTo>
                    <a:pt x="0" y="0"/>
                  </a:moveTo>
                  <a:cubicBezTo>
                    <a:pt x="133319" y="-21005"/>
                    <a:pt x="390003" y="-5635"/>
                    <a:pt x="575376" y="0"/>
                  </a:cubicBezTo>
                  <a:cubicBezTo>
                    <a:pt x="760749" y="5635"/>
                    <a:pt x="1038050" y="-26012"/>
                    <a:pt x="1237368" y="0"/>
                  </a:cubicBezTo>
                  <a:cubicBezTo>
                    <a:pt x="1436686" y="26012"/>
                    <a:pt x="1488784" y="1805"/>
                    <a:pt x="1726129" y="0"/>
                  </a:cubicBezTo>
                  <a:cubicBezTo>
                    <a:pt x="1963474" y="-1805"/>
                    <a:pt x="2070862" y="2339"/>
                    <a:pt x="2344813" y="0"/>
                  </a:cubicBezTo>
                  <a:cubicBezTo>
                    <a:pt x="2618764" y="-2339"/>
                    <a:pt x="2673984" y="-4704"/>
                    <a:pt x="2833573" y="0"/>
                  </a:cubicBezTo>
                  <a:cubicBezTo>
                    <a:pt x="2993162" y="4704"/>
                    <a:pt x="3225456" y="19194"/>
                    <a:pt x="3495565" y="0"/>
                  </a:cubicBezTo>
                  <a:cubicBezTo>
                    <a:pt x="3765674" y="-19194"/>
                    <a:pt x="4112028" y="26481"/>
                    <a:pt x="4330789" y="0"/>
                  </a:cubicBezTo>
                  <a:cubicBezTo>
                    <a:pt x="4331323" y="8474"/>
                    <a:pt x="4330888" y="9969"/>
                    <a:pt x="4330789" y="18288"/>
                  </a:cubicBezTo>
                  <a:cubicBezTo>
                    <a:pt x="4137393" y="6404"/>
                    <a:pt x="4019729" y="24867"/>
                    <a:pt x="3712105" y="18288"/>
                  </a:cubicBezTo>
                  <a:cubicBezTo>
                    <a:pt x="3404481" y="11709"/>
                    <a:pt x="3316255" y="28996"/>
                    <a:pt x="3050113" y="18288"/>
                  </a:cubicBezTo>
                  <a:cubicBezTo>
                    <a:pt x="2783971" y="7580"/>
                    <a:pt x="2627377" y="9178"/>
                    <a:pt x="2474737" y="18288"/>
                  </a:cubicBezTo>
                  <a:cubicBezTo>
                    <a:pt x="2322097" y="27398"/>
                    <a:pt x="1987827" y="8354"/>
                    <a:pt x="1769437" y="18288"/>
                  </a:cubicBezTo>
                  <a:cubicBezTo>
                    <a:pt x="1551047" y="28222"/>
                    <a:pt x="1350769" y="49218"/>
                    <a:pt x="1107445" y="18288"/>
                  </a:cubicBezTo>
                  <a:cubicBezTo>
                    <a:pt x="864121" y="-12642"/>
                    <a:pt x="524722" y="-1029"/>
                    <a:pt x="0" y="18288"/>
                  </a:cubicBezTo>
                  <a:cubicBezTo>
                    <a:pt x="802" y="9702"/>
                    <a:pt x="185" y="6546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noFill/>
              <a:extLst>
                <a:ext uri="{C807C97D-BFC1-408E-A445-0C87EB9F89A2}">
                  <ask:lineSketchStyleProps xmlns:ask="http://schemas.microsoft.com/office/drawing/2018/sketchyshapes" sd="574335773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" name="Expanded Hamburger Menu">
            <a:extLst>
              <a:ext uri="{FF2B5EF4-FFF2-40B4-BE49-F238E27FC236}">
                <a16:creationId xmlns:a16="http://schemas.microsoft.com/office/drawing/2014/main" id="{6C2A0411-EF4D-4212-A2D1-7116A1291C21}"/>
              </a:ext>
            </a:extLst>
          </p:cNvPr>
          <p:cNvGrpSpPr/>
          <p:nvPr/>
        </p:nvGrpSpPr>
        <p:grpSpPr>
          <a:xfrm>
            <a:off x="4703490" y="3396494"/>
            <a:ext cx="1579501" cy="1408176"/>
            <a:chOff x="3894177" y="6437428"/>
            <a:chExt cx="1579501" cy="1408176"/>
          </a:xfrm>
        </p:grpSpPr>
        <p:grpSp>
          <p:nvGrpSpPr>
            <p:cNvPr id="360" name="Expanded Hamburger Menu">
              <a:extLst>
                <a:ext uri="{FF2B5EF4-FFF2-40B4-BE49-F238E27FC236}">
                  <a16:creationId xmlns:a16="http://schemas.microsoft.com/office/drawing/2014/main" id="{59B85AC5-96EC-4AC9-BB03-90C7CC7191C8}"/>
                </a:ext>
              </a:extLst>
            </p:cNvPr>
            <p:cNvGrpSpPr/>
            <p:nvPr/>
          </p:nvGrpSpPr>
          <p:grpSpPr>
            <a:xfrm>
              <a:off x="3894177" y="6437428"/>
              <a:ext cx="238115" cy="157556"/>
              <a:chOff x="4321834" y="7099539"/>
              <a:chExt cx="189781" cy="135090"/>
            </a:xfrm>
          </p:grpSpPr>
          <p:sp>
            <p:nvSpPr>
              <p:cNvPr id="361" name="Rectangle 3">
                <a:extLst>
                  <a:ext uri="{FF2B5EF4-FFF2-40B4-BE49-F238E27FC236}">
                    <a16:creationId xmlns:a16="http://schemas.microsoft.com/office/drawing/2014/main" id="{9A584183-B861-4FEA-8767-4C6E501CDCED}"/>
                  </a:ext>
                </a:extLst>
              </p:cNvPr>
              <p:cNvSpPr/>
              <p:nvPr/>
            </p:nvSpPr>
            <p:spPr>
              <a:xfrm>
                <a:off x="4321834" y="7207197"/>
                <a:ext cx="189781" cy="27432"/>
              </a:xfrm>
              <a:custGeom>
                <a:avLst/>
                <a:gdLst>
                  <a:gd name="connsiteX0" fmla="*/ 0 w 189781"/>
                  <a:gd name="connsiteY0" fmla="*/ 0 h 27432"/>
                  <a:gd name="connsiteX1" fmla="*/ 189781 w 189781"/>
                  <a:gd name="connsiteY1" fmla="*/ 0 h 27432"/>
                  <a:gd name="connsiteX2" fmla="*/ 189781 w 189781"/>
                  <a:gd name="connsiteY2" fmla="*/ 27432 h 27432"/>
                  <a:gd name="connsiteX3" fmla="*/ 0 w 189781"/>
                  <a:gd name="connsiteY3" fmla="*/ 27432 h 27432"/>
                  <a:gd name="connsiteX4" fmla="*/ 0 w 189781"/>
                  <a:gd name="connsiteY4" fmla="*/ 0 h 2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781" h="27432" fill="none" extrusionOk="0">
                    <a:moveTo>
                      <a:pt x="0" y="0"/>
                    </a:moveTo>
                    <a:cubicBezTo>
                      <a:pt x="63962" y="7429"/>
                      <a:pt x="101364" y="-89"/>
                      <a:pt x="189781" y="0"/>
                    </a:cubicBezTo>
                    <a:cubicBezTo>
                      <a:pt x="188633" y="6730"/>
                      <a:pt x="188830" y="20567"/>
                      <a:pt x="189781" y="27432"/>
                    </a:cubicBezTo>
                    <a:cubicBezTo>
                      <a:pt x="150627" y="23840"/>
                      <a:pt x="44296" y="31223"/>
                      <a:pt x="0" y="27432"/>
                    </a:cubicBezTo>
                    <a:cubicBezTo>
                      <a:pt x="1024" y="16170"/>
                      <a:pt x="1366" y="10545"/>
                      <a:pt x="0" y="0"/>
                    </a:cubicBezTo>
                    <a:close/>
                  </a:path>
                  <a:path w="189781" h="27432" stroke="0" extrusionOk="0">
                    <a:moveTo>
                      <a:pt x="0" y="0"/>
                    </a:moveTo>
                    <a:cubicBezTo>
                      <a:pt x="75930" y="-5552"/>
                      <a:pt x="108091" y="-5520"/>
                      <a:pt x="189781" y="0"/>
                    </a:cubicBezTo>
                    <a:cubicBezTo>
                      <a:pt x="190708" y="8872"/>
                      <a:pt x="190410" y="19259"/>
                      <a:pt x="189781" y="27432"/>
                    </a:cubicBezTo>
                    <a:cubicBezTo>
                      <a:pt x="116200" y="32360"/>
                      <a:pt x="87791" y="33405"/>
                      <a:pt x="0" y="27432"/>
                    </a:cubicBezTo>
                    <a:cubicBezTo>
                      <a:pt x="482" y="16935"/>
                      <a:pt x="799" y="7801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9525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927782525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2" name="Rectangle 2">
                <a:extLst>
                  <a:ext uri="{FF2B5EF4-FFF2-40B4-BE49-F238E27FC236}">
                    <a16:creationId xmlns:a16="http://schemas.microsoft.com/office/drawing/2014/main" id="{91AEFB4A-F08C-49E8-B2C3-F90445D43CD4}"/>
                  </a:ext>
                </a:extLst>
              </p:cNvPr>
              <p:cNvSpPr/>
              <p:nvPr/>
            </p:nvSpPr>
            <p:spPr>
              <a:xfrm>
                <a:off x="4321834" y="7153368"/>
                <a:ext cx="189781" cy="27432"/>
              </a:xfrm>
              <a:custGeom>
                <a:avLst/>
                <a:gdLst>
                  <a:gd name="connsiteX0" fmla="*/ 0 w 189781"/>
                  <a:gd name="connsiteY0" fmla="*/ 0 h 27432"/>
                  <a:gd name="connsiteX1" fmla="*/ 189781 w 189781"/>
                  <a:gd name="connsiteY1" fmla="*/ 0 h 27432"/>
                  <a:gd name="connsiteX2" fmla="*/ 189781 w 189781"/>
                  <a:gd name="connsiteY2" fmla="*/ 27432 h 27432"/>
                  <a:gd name="connsiteX3" fmla="*/ 0 w 189781"/>
                  <a:gd name="connsiteY3" fmla="*/ 27432 h 27432"/>
                  <a:gd name="connsiteX4" fmla="*/ 0 w 189781"/>
                  <a:gd name="connsiteY4" fmla="*/ 0 h 2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781" h="27432" fill="none" extrusionOk="0">
                    <a:moveTo>
                      <a:pt x="0" y="0"/>
                    </a:moveTo>
                    <a:cubicBezTo>
                      <a:pt x="57165" y="-7750"/>
                      <a:pt x="125307" y="5611"/>
                      <a:pt x="189781" y="0"/>
                    </a:cubicBezTo>
                    <a:cubicBezTo>
                      <a:pt x="190755" y="12107"/>
                      <a:pt x="189205" y="21011"/>
                      <a:pt x="189781" y="27432"/>
                    </a:cubicBezTo>
                    <a:cubicBezTo>
                      <a:pt x="123752" y="31664"/>
                      <a:pt x="94305" y="33629"/>
                      <a:pt x="0" y="27432"/>
                    </a:cubicBezTo>
                    <a:cubicBezTo>
                      <a:pt x="-1046" y="20317"/>
                      <a:pt x="476" y="8994"/>
                      <a:pt x="0" y="0"/>
                    </a:cubicBezTo>
                    <a:close/>
                  </a:path>
                  <a:path w="189781" h="27432" stroke="0" extrusionOk="0">
                    <a:moveTo>
                      <a:pt x="0" y="0"/>
                    </a:moveTo>
                    <a:cubicBezTo>
                      <a:pt x="65242" y="6257"/>
                      <a:pt x="147427" y="6702"/>
                      <a:pt x="189781" y="0"/>
                    </a:cubicBezTo>
                    <a:cubicBezTo>
                      <a:pt x="190696" y="7294"/>
                      <a:pt x="189295" y="19060"/>
                      <a:pt x="189781" y="27432"/>
                    </a:cubicBezTo>
                    <a:cubicBezTo>
                      <a:pt x="107007" y="26560"/>
                      <a:pt x="39824" y="33230"/>
                      <a:pt x="0" y="27432"/>
                    </a:cubicBezTo>
                    <a:cubicBezTo>
                      <a:pt x="-172" y="17752"/>
                      <a:pt x="682" y="11766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9525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670402538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3" name="Rectangle 1">
                <a:extLst>
                  <a:ext uri="{FF2B5EF4-FFF2-40B4-BE49-F238E27FC236}">
                    <a16:creationId xmlns:a16="http://schemas.microsoft.com/office/drawing/2014/main" id="{95D74F87-BBA9-44D6-A5C3-92BE4A2C4CC4}"/>
                  </a:ext>
                </a:extLst>
              </p:cNvPr>
              <p:cNvSpPr/>
              <p:nvPr/>
            </p:nvSpPr>
            <p:spPr>
              <a:xfrm>
                <a:off x="4321834" y="7099539"/>
                <a:ext cx="189781" cy="27432"/>
              </a:xfrm>
              <a:custGeom>
                <a:avLst/>
                <a:gdLst>
                  <a:gd name="connsiteX0" fmla="*/ 0 w 189781"/>
                  <a:gd name="connsiteY0" fmla="*/ 0 h 27432"/>
                  <a:gd name="connsiteX1" fmla="*/ 189781 w 189781"/>
                  <a:gd name="connsiteY1" fmla="*/ 0 h 27432"/>
                  <a:gd name="connsiteX2" fmla="*/ 189781 w 189781"/>
                  <a:gd name="connsiteY2" fmla="*/ 27432 h 27432"/>
                  <a:gd name="connsiteX3" fmla="*/ 0 w 189781"/>
                  <a:gd name="connsiteY3" fmla="*/ 27432 h 27432"/>
                  <a:gd name="connsiteX4" fmla="*/ 0 w 189781"/>
                  <a:gd name="connsiteY4" fmla="*/ 0 h 2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781" h="27432" fill="none" extrusionOk="0">
                    <a:moveTo>
                      <a:pt x="0" y="0"/>
                    </a:moveTo>
                    <a:cubicBezTo>
                      <a:pt x="45288" y="3986"/>
                      <a:pt x="114206" y="5823"/>
                      <a:pt x="189781" y="0"/>
                    </a:cubicBezTo>
                    <a:cubicBezTo>
                      <a:pt x="191059" y="11470"/>
                      <a:pt x="189052" y="16780"/>
                      <a:pt x="189781" y="27432"/>
                    </a:cubicBezTo>
                    <a:cubicBezTo>
                      <a:pt x="130582" y="27305"/>
                      <a:pt x="78470" y="36817"/>
                      <a:pt x="0" y="27432"/>
                    </a:cubicBezTo>
                    <a:cubicBezTo>
                      <a:pt x="1360" y="17268"/>
                      <a:pt x="-83" y="8055"/>
                      <a:pt x="0" y="0"/>
                    </a:cubicBezTo>
                    <a:close/>
                  </a:path>
                  <a:path w="189781" h="27432" stroke="0" extrusionOk="0">
                    <a:moveTo>
                      <a:pt x="0" y="0"/>
                    </a:moveTo>
                    <a:cubicBezTo>
                      <a:pt x="49502" y="-8745"/>
                      <a:pt x="111935" y="4472"/>
                      <a:pt x="189781" y="0"/>
                    </a:cubicBezTo>
                    <a:cubicBezTo>
                      <a:pt x="189888" y="13381"/>
                      <a:pt x="189582" y="15985"/>
                      <a:pt x="189781" y="27432"/>
                    </a:cubicBezTo>
                    <a:cubicBezTo>
                      <a:pt x="137396" y="28207"/>
                      <a:pt x="51979" y="35208"/>
                      <a:pt x="0" y="27432"/>
                    </a:cubicBezTo>
                    <a:cubicBezTo>
                      <a:pt x="207" y="17000"/>
                      <a:pt x="-193" y="655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9525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" name="Expanded Hamburger Menu Dropdown">
              <a:extLst>
                <a:ext uri="{FF2B5EF4-FFF2-40B4-BE49-F238E27FC236}">
                  <a16:creationId xmlns:a16="http://schemas.microsoft.com/office/drawing/2014/main" id="{C1A2AAE9-A8B5-43B9-9350-98A7C034BF19}"/>
                </a:ext>
              </a:extLst>
            </p:cNvPr>
            <p:cNvGrpSpPr/>
            <p:nvPr/>
          </p:nvGrpSpPr>
          <p:grpSpPr>
            <a:xfrm>
              <a:off x="3894177" y="6673646"/>
              <a:ext cx="1579501" cy="1171958"/>
              <a:chOff x="3894177" y="6673646"/>
              <a:chExt cx="1579501" cy="1171958"/>
            </a:xfrm>
          </p:grpSpPr>
          <p:sp>
            <p:nvSpPr>
              <p:cNvPr id="364" name="Expanded Menu Outline">
                <a:extLst>
                  <a:ext uri="{FF2B5EF4-FFF2-40B4-BE49-F238E27FC236}">
                    <a16:creationId xmlns:a16="http://schemas.microsoft.com/office/drawing/2014/main" id="{8CA12D02-DDDF-43BC-80D0-34E3974161E1}"/>
                  </a:ext>
                </a:extLst>
              </p:cNvPr>
              <p:cNvSpPr/>
              <p:nvPr/>
            </p:nvSpPr>
            <p:spPr>
              <a:xfrm>
                <a:off x="3894177" y="6673646"/>
                <a:ext cx="1579501" cy="1171958"/>
              </a:xfrm>
              <a:custGeom>
                <a:avLst/>
                <a:gdLst>
                  <a:gd name="connsiteX0" fmla="*/ 0 w 1579501"/>
                  <a:gd name="connsiteY0" fmla="*/ 0 h 1171958"/>
                  <a:gd name="connsiteX1" fmla="*/ 510705 w 1579501"/>
                  <a:gd name="connsiteY1" fmla="*/ 0 h 1171958"/>
                  <a:gd name="connsiteX2" fmla="*/ 1037206 w 1579501"/>
                  <a:gd name="connsiteY2" fmla="*/ 0 h 1171958"/>
                  <a:gd name="connsiteX3" fmla="*/ 1579501 w 1579501"/>
                  <a:gd name="connsiteY3" fmla="*/ 0 h 1171958"/>
                  <a:gd name="connsiteX4" fmla="*/ 1579501 w 1579501"/>
                  <a:gd name="connsiteY4" fmla="*/ 585979 h 1171958"/>
                  <a:gd name="connsiteX5" fmla="*/ 1579501 w 1579501"/>
                  <a:gd name="connsiteY5" fmla="*/ 1171958 h 1171958"/>
                  <a:gd name="connsiteX6" fmla="*/ 1053001 w 1579501"/>
                  <a:gd name="connsiteY6" fmla="*/ 1171958 h 1171958"/>
                  <a:gd name="connsiteX7" fmla="*/ 558090 w 1579501"/>
                  <a:gd name="connsiteY7" fmla="*/ 1171958 h 1171958"/>
                  <a:gd name="connsiteX8" fmla="*/ 0 w 1579501"/>
                  <a:gd name="connsiteY8" fmla="*/ 1171958 h 1171958"/>
                  <a:gd name="connsiteX9" fmla="*/ 0 w 1579501"/>
                  <a:gd name="connsiteY9" fmla="*/ 597699 h 1171958"/>
                  <a:gd name="connsiteX10" fmla="*/ 0 w 1579501"/>
                  <a:gd name="connsiteY10" fmla="*/ 0 h 1171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79501" h="1171958" fill="none" extrusionOk="0">
                    <a:moveTo>
                      <a:pt x="0" y="0"/>
                    </a:moveTo>
                    <a:cubicBezTo>
                      <a:pt x="124253" y="14159"/>
                      <a:pt x="301871" y="-20657"/>
                      <a:pt x="510705" y="0"/>
                    </a:cubicBezTo>
                    <a:cubicBezTo>
                      <a:pt x="719540" y="20657"/>
                      <a:pt x="785391" y="23949"/>
                      <a:pt x="1037206" y="0"/>
                    </a:cubicBezTo>
                    <a:cubicBezTo>
                      <a:pt x="1289021" y="-23949"/>
                      <a:pt x="1429786" y="25217"/>
                      <a:pt x="1579501" y="0"/>
                    </a:cubicBezTo>
                    <a:cubicBezTo>
                      <a:pt x="1599656" y="183619"/>
                      <a:pt x="1556410" y="419847"/>
                      <a:pt x="1579501" y="585979"/>
                    </a:cubicBezTo>
                    <a:cubicBezTo>
                      <a:pt x="1602592" y="752111"/>
                      <a:pt x="1587002" y="997253"/>
                      <a:pt x="1579501" y="1171958"/>
                    </a:cubicBezTo>
                    <a:cubicBezTo>
                      <a:pt x="1465286" y="1180463"/>
                      <a:pt x="1240274" y="1149827"/>
                      <a:pt x="1053001" y="1171958"/>
                    </a:cubicBezTo>
                    <a:cubicBezTo>
                      <a:pt x="865728" y="1194089"/>
                      <a:pt x="683062" y="1172650"/>
                      <a:pt x="558090" y="1171958"/>
                    </a:cubicBezTo>
                    <a:cubicBezTo>
                      <a:pt x="433118" y="1171266"/>
                      <a:pt x="271828" y="1187406"/>
                      <a:pt x="0" y="1171958"/>
                    </a:cubicBezTo>
                    <a:cubicBezTo>
                      <a:pt x="-10883" y="935082"/>
                      <a:pt x="-10476" y="809114"/>
                      <a:pt x="0" y="597699"/>
                    </a:cubicBezTo>
                    <a:cubicBezTo>
                      <a:pt x="10476" y="386284"/>
                      <a:pt x="8169" y="228756"/>
                      <a:pt x="0" y="0"/>
                    </a:cubicBezTo>
                    <a:close/>
                  </a:path>
                  <a:path w="1579501" h="1171958" stroke="0" extrusionOk="0">
                    <a:moveTo>
                      <a:pt x="0" y="0"/>
                    </a:moveTo>
                    <a:cubicBezTo>
                      <a:pt x="241399" y="-4817"/>
                      <a:pt x="370940" y="-2468"/>
                      <a:pt x="510705" y="0"/>
                    </a:cubicBezTo>
                    <a:cubicBezTo>
                      <a:pt x="650471" y="2468"/>
                      <a:pt x="761276" y="10907"/>
                      <a:pt x="989821" y="0"/>
                    </a:cubicBezTo>
                    <a:cubicBezTo>
                      <a:pt x="1218366" y="-10907"/>
                      <a:pt x="1418001" y="25241"/>
                      <a:pt x="1579501" y="0"/>
                    </a:cubicBezTo>
                    <a:cubicBezTo>
                      <a:pt x="1599618" y="199446"/>
                      <a:pt x="1607751" y="415986"/>
                      <a:pt x="1579501" y="574259"/>
                    </a:cubicBezTo>
                    <a:cubicBezTo>
                      <a:pt x="1551251" y="732532"/>
                      <a:pt x="1603369" y="1008645"/>
                      <a:pt x="1579501" y="1171958"/>
                    </a:cubicBezTo>
                    <a:cubicBezTo>
                      <a:pt x="1460544" y="1159844"/>
                      <a:pt x="1234433" y="1194869"/>
                      <a:pt x="1084591" y="1171958"/>
                    </a:cubicBezTo>
                    <a:cubicBezTo>
                      <a:pt x="934749" y="1149048"/>
                      <a:pt x="825954" y="1165328"/>
                      <a:pt x="589680" y="1171958"/>
                    </a:cubicBezTo>
                    <a:cubicBezTo>
                      <a:pt x="353406" y="1178588"/>
                      <a:pt x="292497" y="1189967"/>
                      <a:pt x="0" y="1171958"/>
                    </a:cubicBezTo>
                    <a:cubicBezTo>
                      <a:pt x="11680" y="909056"/>
                      <a:pt x="7168" y="797619"/>
                      <a:pt x="0" y="621138"/>
                    </a:cubicBezTo>
                    <a:cubicBezTo>
                      <a:pt x="-7168" y="444657"/>
                      <a:pt x="29276" y="14236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rgbClr val="666666"/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5" name="Selected Item Background">
                <a:extLst>
                  <a:ext uri="{FF2B5EF4-FFF2-40B4-BE49-F238E27FC236}">
                    <a16:creationId xmlns:a16="http://schemas.microsoft.com/office/drawing/2014/main" id="{E26ACAE4-E7B8-48D0-9123-F321E54E6F7F}"/>
                  </a:ext>
                </a:extLst>
              </p:cNvPr>
              <p:cNvSpPr/>
              <p:nvPr/>
            </p:nvSpPr>
            <p:spPr>
              <a:xfrm>
                <a:off x="3911710" y="6983469"/>
                <a:ext cx="1546787" cy="321134"/>
              </a:xfrm>
              <a:custGeom>
                <a:avLst/>
                <a:gdLst>
                  <a:gd name="connsiteX0" fmla="*/ 0 w 1546787"/>
                  <a:gd name="connsiteY0" fmla="*/ 0 h 321134"/>
                  <a:gd name="connsiteX1" fmla="*/ 546531 w 1546787"/>
                  <a:gd name="connsiteY1" fmla="*/ 0 h 321134"/>
                  <a:gd name="connsiteX2" fmla="*/ 1031191 w 1546787"/>
                  <a:gd name="connsiteY2" fmla="*/ 0 h 321134"/>
                  <a:gd name="connsiteX3" fmla="*/ 1546787 w 1546787"/>
                  <a:gd name="connsiteY3" fmla="*/ 0 h 321134"/>
                  <a:gd name="connsiteX4" fmla="*/ 1546787 w 1546787"/>
                  <a:gd name="connsiteY4" fmla="*/ 321134 h 321134"/>
                  <a:gd name="connsiteX5" fmla="*/ 1046659 w 1546787"/>
                  <a:gd name="connsiteY5" fmla="*/ 321134 h 321134"/>
                  <a:gd name="connsiteX6" fmla="*/ 577467 w 1546787"/>
                  <a:gd name="connsiteY6" fmla="*/ 321134 h 321134"/>
                  <a:gd name="connsiteX7" fmla="*/ 0 w 1546787"/>
                  <a:gd name="connsiteY7" fmla="*/ 321134 h 321134"/>
                  <a:gd name="connsiteX8" fmla="*/ 0 w 1546787"/>
                  <a:gd name="connsiteY8" fmla="*/ 0 h 32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6787" h="321134" fill="none" extrusionOk="0">
                    <a:moveTo>
                      <a:pt x="0" y="0"/>
                    </a:moveTo>
                    <a:cubicBezTo>
                      <a:pt x="134482" y="-21899"/>
                      <a:pt x="305152" y="5098"/>
                      <a:pt x="546531" y="0"/>
                    </a:cubicBezTo>
                    <a:cubicBezTo>
                      <a:pt x="787910" y="-5098"/>
                      <a:pt x="890908" y="-9116"/>
                      <a:pt x="1031191" y="0"/>
                    </a:cubicBezTo>
                    <a:cubicBezTo>
                      <a:pt x="1171474" y="9116"/>
                      <a:pt x="1396194" y="-8715"/>
                      <a:pt x="1546787" y="0"/>
                    </a:cubicBezTo>
                    <a:cubicBezTo>
                      <a:pt x="1555563" y="134593"/>
                      <a:pt x="1554629" y="180539"/>
                      <a:pt x="1546787" y="321134"/>
                    </a:cubicBezTo>
                    <a:cubicBezTo>
                      <a:pt x="1298132" y="313743"/>
                      <a:pt x="1206969" y="307914"/>
                      <a:pt x="1046659" y="321134"/>
                    </a:cubicBezTo>
                    <a:cubicBezTo>
                      <a:pt x="886349" y="334354"/>
                      <a:pt x="810652" y="320823"/>
                      <a:pt x="577467" y="321134"/>
                    </a:cubicBezTo>
                    <a:cubicBezTo>
                      <a:pt x="344282" y="321445"/>
                      <a:pt x="257724" y="349056"/>
                      <a:pt x="0" y="321134"/>
                    </a:cubicBezTo>
                    <a:cubicBezTo>
                      <a:pt x="-10518" y="248394"/>
                      <a:pt x="-14459" y="73814"/>
                      <a:pt x="0" y="0"/>
                    </a:cubicBezTo>
                    <a:close/>
                  </a:path>
                  <a:path w="1546787" h="321134" stroke="0" extrusionOk="0">
                    <a:moveTo>
                      <a:pt x="0" y="0"/>
                    </a:moveTo>
                    <a:cubicBezTo>
                      <a:pt x="203309" y="-22270"/>
                      <a:pt x="313345" y="20437"/>
                      <a:pt x="469192" y="0"/>
                    </a:cubicBezTo>
                    <a:cubicBezTo>
                      <a:pt x="625039" y="-20437"/>
                      <a:pt x="718148" y="1050"/>
                      <a:pt x="938384" y="0"/>
                    </a:cubicBezTo>
                    <a:cubicBezTo>
                      <a:pt x="1158620" y="-1050"/>
                      <a:pt x="1317846" y="2831"/>
                      <a:pt x="1546787" y="0"/>
                    </a:cubicBezTo>
                    <a:cubicBezTo>
                      <a:pt x="1551199" y="145996"/>
                      <a:pt x="1561714" y="215878"/>
                      <a:pt x="1546787" y="321134"/>
                    </a:cubicBezTo>
                    <a:cubicBezTo>
                      <a:pt x="1427173" y="314790"/>
                      <a:pt x="1167765" y="307270"/>
                      <a:pt x="1015723" y="321134"/>
                    </a:cubicBezTo>
                    <a:cubicBezTo>
                      <a:pt x="863681" y="334998"/>
                      <a:pt x="698321" y="322187"/>
                      <a:pt x="546531" y="321134"/>
                    </a:cubicBezTo>
                    <a:cubicBezTo>
                      <a:pt x="394741" y="320081"/>
                      <a:pt x="169727" y="310437"/>
                      <a:pt x="0" y="321134"/>
                    </a:cubicBezTo>
                    <a:cubicBezTo>
                      <a:pt x="8564" y="240455"/>
                      <a:pt x="-2379" y="158863"/>
                      <a:pt x="0" y="0"/>
                    </a:cubicBezTo>
                    <a:close/>
                  </a:path>
                </a:pathLst>
              </a:custGeom>
              <a:solidFill>
                <a:srgbClr val="F2F2F2">
                  <a:alpha val="80000"/>
                </a:srgbClr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7247187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9" name="Select Item 4">
                <a:extLst>
                  <a:ext uri="{FF2B5EF4-FFF2-40B4-BE49-F238E27FC236}">
                    <a16:creationId xmlns:a16="http://schemas.microsoft.com/office/drawing/2014/main" id="{0A8B48B5-1FEF-4BCE-B628-57C4115E6D8F}"/>
                  </a:ext>
                </a:extLst>
              </p:cNvPr>
              <p:cNvSpPr txBox="1"/>
              <p:nvPr/>
            </p:nvSpPr>
            <p:spPr>
              <a:xfrm>
                <a:off x="3999050" y="7596181"/>
                <a:ext cx="739000" cy="1649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rtlCol="0">
                <a:spAutoFit/>
              </a:bodyPr>
              <a:lstStyle/>
              <a:p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elect Item 4</a:t>
                </a:r>
              </a:p>
            </p:txBody>
          </p:sp>
          <p:sp>
            <p:nvSpPr>
              <p:cNvPr id="368" name="Select Item 3">
                <a:extLst>
                  <a:ext uri="{FF2B5EF4-FFF2-40B4-BE49-F238E27FC236}">
                    <a16:creationId xmlns:a16="http://schemas.microsoft.com/office/drawing/2014/main" id="{47FDE868-6E82-4F41-8520-71F9DE72BD0E}"/>
                  </a:ext>
                </a:extLst>
              </p:cNvPr>
              <p:cNvSpPr txBox="1"/>
              <p:nvPr/>
            </p:nvSpPr>
            <p:spPr>
              <a:xfrm>
                <a:off x="3999050" y="7352627"/>
                <a:ext cx="739000" cy="1649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rtlCol="0">
                <a:spAutoFit/>
              </a:bodyPr>
              <a:lstStyle/>
              <a:p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elect Item 3</a:t>
                </a:r>
              </a:p>
            </p:txBody>
          </p:sp>
          <p:sp>
            <p:nvSpPr>
              <p:cNvPr id="367" name="Highlighted Select Item 2">
                <a:extLst>
                  <a:ext uri="{FF2B5EF4-FFF2-40B4-BE49-F238E27FC236}">
                    <a16:creationId xmlns:a16="http://schemas.microsoft.com/office/drawing/2014/main" id="{6927B01C-3059-436B-8065-E1FF02538203}"/>
                  </a:ext>
                </a:extLst>
              </p:cNvPr>
              <p:cNvSpPr txBox="1"/>
              <p:nvPr/>
            </p:nvSpPr>
            <p:spPr>
              <a:xfrm>
                <a:off x="3999050" y="7056105"/>
                <a:ext cx="739000" cy="1649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rtlCol="0">
                <a:spAutoFit/>
              </a:bodyPr>
              <a:lstStyle/>
              <a:p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elect Item 2</a:t>
                </a:r>
              </a:p>
            </p:txBody>
          </p:sp>
          <p:sp>
            <p:nvSpPr>
              <p:cNvPr id="366" name="Select Item 1">
                <a:extLst>
                  <a:ext uri="{FF2B5EF4-FFF2-40B4-BE49-F238E27FC236}">
                    <a16:creationId xmlns:a16="http://schemas.microsoft.com/office/drawing/2014/main" id="{47028747-2B0D-475F-94C8-96ABC55C5A76}"/>
                  </a:ext>
                </a:extLst>
              </p:cNvPr>
              <p:cNvSpPr txBox="1"/>
              <p:nvPr/>
            </p:nvSpPr>
            <p:spPr>
              <a:xfrm>
                <a:off x="3999050" y="6752475"/>
                <a:ext cx="739000" cy="1649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rtlCol="0">
                <a:spAutoFit/>
              </a:bodyPr>
              <a:lstStyle/>
              <a:p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elect Item 1</a:t>
                </a:r>
              </a:p>
            </p:txBody>
          </p:sp>
        </p:grpSp>
      </p:grpSp>
      <p:sp>
        <p:nvSpPr>
          <p:cNvPr id="357" name="Menu Title">
            <a:extLst>
              <a:ext uri="{FF2B5EF4-FFF2-40B4-BE49-F238E27FC236}">
                <a16:creationId xmlns:a16="http://schemas.microsoft.com/office/drawing/2014/main" id="{9869FC99-C37F-48B3-85E1-9A7F4D4A607A}"/>
              </a:ext>
            </a:extLst>
          </p:cNvPr>
          <p:cNvSpPr txBox="1"/>
          <p:nvPr/>
        </p:nvSpPr>
        <p:spPr>
          <a:xfrm>
            <a:off x="4679246" y="2766351"/>
            <a:ext cx="2095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grpSp>
        <p:nvGrpSpPr>
          <p:cNvPr id="274" name="Pop Up">
            <a:extLst>
              <a:ext uri="{FF2B5EF4-FFF2-40B4-BE49-F238E27FC236}">
                <a16:creationId xmlns:a16="http://schemas.microsoft.com/office/drawing/2014/main" id="{50113E22-FF0D-4AC1-9522-6309BDD29B20}"/>
              </a:ext>
            </a:extLst>
          </p:cNvPr>
          <p:cNvGrpSpPr/>
          <p:nvPr/>
        </p:nvGrpSpPr>
        <p:grpSpPr>
          <a:xfrm>
            <a:off x="499424" y="5351116"/>
            <a:ext cx="1737360" cy="960120"/>
            <a:chOff x="-3286667" y="10352774"/>
            <a:chExt cx="2318870" cy="1338274"/>
          </a:xfrm>
        </p:grpSpPr>
        <p:sp>
          <p:nvSpPr>
            <p:cNvPr id="300" name="Pop-Up Background">
              <a:extLst>
                <a:ext uri="{FF2B5EF4-FFF2-40B4-BE49-F238E27FC236}">
                  <a16:creationId xmlns:a16="http://schemas.microsoft.com/office/drawing/2014/main" id="{6FA469B7-D192-4A2A-AC81-9A68D6921C25}"/>
                </a:ext>
              </a:extLst>
            </p:cNvPr>
            <p:cNvSpPr/>
            <p:nvPr/>
          </p:nvSpPr>
          <p:spPr>
            <a:xfrm>
              <a:off x="-3286667" y="10352774"/>
              <a:ext cx="2318870" cy="1338274"/>
            </a:xfrm>
            <a:custGeom>
              <a:avLst/>
              <a:gdLst>
                <a:gd name="connsiteX0" fmla="*/ 0 w 2318870"/>
                <a:gd name="connsiteY0" fmla="*/ 38649 h 1338274"/>
                <a:gd name="connsiteX1" fmla="*/ 38649 w 2318870"/>
                <a:gd name="connsiteY1" fmla="*/ 0 h 1338274"/>
                <a:gd name="connsiteX2" fmla="*/ 554211 w 2318870"/>
                <a:gd name="connsiteY2" fmla="*/ 0 h 1338274"/>
                <a:gd name="connsiteX3" fmla="*/ 1092188 w 2318870"/>
                <a:gd name="connsiteY3" fmla="*/ 0 h 1338274"/>
                <a:gd name="connsiteX4" fmla="*/ 1674997 w 2318870"/>
                <a:gd name="connsiteY4" fmla="*/ 0 h 1338274"/>
                <a:gd name="connsiteX5" fmla="*/ 2280221 w 2318870"/>
                <a:gd name="connsiteY5" fmla="*/ 0 h 1338274"/>
                <a:gd name="connsiteX6" fmla="*/ 2318870 w 2318870"/>
                <a:gd name="connsiteY6" fmla="*/ 38649 h 1338274"/>
                <a:gd name="connsiteX7" fmla="*/ 2318870 w 2318870"/>
                <a:gd name="connsiteY7" fmla="*/ 631308 h 1338274"/>
                <a:gd name="connsiteX8" fmla="*/ 2318870 w 2318870"/>
                <a:gd name="connsiteY8" fmla="*/ 1299625 h 1338274"/>
                <a:gd name="connsiteX9" fmla="*/ 2280221 w 2318870"/>
                <a:gd name="connsiteY9" fmla="*/ 1338274 h 1338274"/>
                <a:gd name="connsiteX10" fmla="*/ 1787075 w 2318870"/>
                <a:gd name="connsiteY10" fmla="*/ 1338274 h 1338274"/>
                <a:gd name="connsiteX11" fmla="*/ 1271514 w 2318870"/>
                <a:gd name="connsiteY11" fmla="*/ 1338274 h 1338274"/>
                <a:gd name="connsiteX12" fmla="*/ 688705 w 2318870"/>
                <a:gd name="connsiteY12" fmla="*/ 1338274 h 1338274"/>
                <a:gd name="connsiteX13" fmla="*/ 38649 w 2318870"/>
                <a:gd name="connsiteY13" fmla="*/ 1338274 h 1338274"/>
                <a:gd name="connsiteX14" fmla="*/ 0 w 2318870"/>
                <a:gd name="connsiteY14" fmla="*/ 1299625 h 1338274"/>
                <a:gd name="connsiteX15" fmla="*/ 0 w 2318870"/>
                <a:gd name="connsiteY15" fmla="*/ 706966 h 1338274"/>
                <a:gd name="connsiteX16" fmla="*/ 0 w 2318870"/>
                <a:gd name="connsiteY16" fmla="*/ 38649 h 133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18870" h="1338274" fill="none" extrusionOk="0">
                  <a:moveTo>
                    <a:pt x="0" y="38649"/>
                  </a:moveTo>
                  <a:cubicBezTo>
                    <a:pt x="1970" y="15383"/>
                    <a:pt x="16777" y="-816"/>
                    <a:pt x="38649" y="0"/>
                  </a:cubicBezTo>
                  <a:cubicBezTo>
                    <a:pt x="205741" y="-6519"/>
                    <a:pt x="435262" y="22606"/>
                    <a:pt x="554211" y="0"/>
                  </a:cubicBezTo>
                  <a:cubicBezTo>
                    <a:pt x="673160" y="-22606"/>
                    <a:pt x="943751" y="14999"/>
                    <a:pt x="1092188" y="0"/>
                  </a:cubicBezTo>
                  <a:cubicBezTo>
                    <a:pt x="1240625" y="-14999"/>
                    <a:pt x="1490144" y="22044"/>
                    <a:pt x="1674997" y="0"/>
                  </a:cubicBezTo>
                  <a:cubicBezTo>
                    <a:pt x="1859850" y="-22044"/>
                    <a:pt x="2123201" y="7223"/>
                    <a:pt x="2280221" y="0"/>
                  </a:cubicBezTo>
                  <a:cubicBezTo>
                    <a:pt x="2302517" y="3346"/>
                    <a:pt x="2323177" y="16927"/>
                    <a:pt x="2318870" y="38649"/>
                  </a:cubicBezTo>
                  <a:cubicBezTo>
                    <a:pt x="2342060" y="169954"/>
                    <a:pt x="2301608" y="408129"/>
                    <a:pt x="2318870" y="631308"/>
                  </a:cubicBezTo>
                  <a:cubicBezTo>
                    <a:pt x="2336132" y="854487"/>
                    <a:pt x="2348537" y="966616"/>
                    <a:pt x="2318870" y="1299625"/>
                  </a:cubicBezTo>
                  <a:cubicBezTo>
                    <a:pt x="2316724" y="1321046"/>
                    <a:pt x="2301586" y="1341959"/>
                    <a:pt x="2280221" y="1338274"/>
                  </a:cubicBezTo>
                  <a:cubicBezTo>
                    <a:pt x="2072361" y="1336205"/>
                    <a:pt x="1959271" y="1346278"/>
                    <a:pt x="1787075" y="1338274"/>
                  </a:cubicBezTo>
                  <a:cubicBezTo>
                    <a:pt x="1614879" y="1330270"/>
                    <a:pt x="1528284" y="1343171"/>
                    <a:pt x="1271514" y="1338274"/>
                  </a:cubicBezTo>
                  <a:cubicBezTo>
                    <a:pt x="1014744" y="1333377"/>
                    <a:pt x="932258" y="1340336"/>
                    <a:pt x="688705" y="1338274"/>
                  </a:cubicBezTo>
                  <a:cubicBezTo>
                    <a:pt x="445152" y="1336212"/>
                    <a:pt x="208186" y="1358833"/>
                    <a:pt x="38649" y="1338274"/>
                  </a:cubicBezTo>
                  <a:cubicBezTo>
                    <a:pt x="16549" y="1339047"/>
                    <a:pt x="-2189" y="1322174"/>
                    <a:pt x="0" y="1299625"/>
                  </a:cubicBezTo>
                  <a:cubicBezTo>
                    <a:pt x="28097" y="1130236"/>
                    <a:pt x="-29395" y="983492"/>
                    <a:pt x="0" y="706966"/>
                  </a:cubicBezTo>
                  <a:cubicBezTo>
                    <a:pt x="29395" y="430440"/>
                    <a:pt x="7019" y="322485"/>
                    <a:pt x="0" y="38649"/>
                  </a:cubicBezTo>
                  <a:close/>
                </a:path>
                <a:path w="2318870" h="1338274" stroke="0" extrusionOk="0">
                  <a:moveTo>
                    <a:pt x="0" y="38649"/>
                  </a:moveTo>
                  <a:cubicBezTo>
                    <a:pt x="-3986" y="16446"/>
                    <a:pt x="19863" y="-695"/>
                    <a:pt x="38649" y="0"/>
                  </a:cubicBezTo>
                  <a:cubicBezTo>
                    <a:pt x="187212" y="12100"/>
                    <a:pt x="401763" y="-21516"/>
                    <a:pt x="643873" y="0"/>
                  </a:cubicBezTo>
                  <a:cubicBezTo>
                    <a:pt x="885983" y="21516"/>
                    <a:pt x="1045288" y="7445"/>
                    <a:pt x="1159435" y="0"/>
                  </a:cubicBezTo>
                  <a:cubicBezTo>
                    <a:pt x="1273582" y="-7445"/>
                    <a:pt x="1529958" y="6842"/>
                    <a:pt x="1652581" y="0"/>
                  </a:cubicBezTo>
                  <a:cubicBezTo>
                    <a:pt x="1775204" y="-6842"/>
                    <a:pt x="2027324" y="4751"/>
                    <a:pt x="2280221" y="0"/>
                  </a:cubicBezTo>
                  <a:cubicBezTo>
                    <a:pt x="2302054" y="547"/>
                    <a:pt x="2318868" y="20922"/>
                    <a:pt x="2318870" y="38649"/>
                  </a:cubicBezTo>
                  <a:cubicBezTo>
                    <a:pt x="2346518" y="185394"/>
                    <a:pt x="2293825" y="471551"/>
                    <a:pt x="2318870" y="631308"/>
                  </a:cubicBezTo>
                  <a:cubicBezTo>
                    <a:pt x="2343915" y="791065"/>
                    <a:pt x="2308748" y="1043724"/>
                    <a:pt x="2318870" y="1299625"/>
                  </a:cubicBezTo>
                  <a:cubicBezTo>
                    <a:pt x="2319873" y="1319541"/>
                    <a:pt x="2305158" y="1337843"/>
                    <a:pt x="2280221" y="1338274"/>
                  </a:cubicBezTo>
                  <a:cubicBezTo>
                    <a:pt x="2082662" y="1362853"/>
                    <a:pt x="1967908" y="1355689"/>
                    <a:pt x="1787075" y="1338274"/>
                  </a:cubicBezTo>
                  <a:cubicBezTo>
                    <a:pt x="1606242" y="1320859"/>
                    <a:pt x="1421095" y="1358766"/>
                    <a:pt x="1293929" y="1338274"/>
                  </a:cubicBezTo>
                  <a:cubicBezTo>
                    <a:pt x="1166763" y="1317782"/>
                    <a:pt x="889994" y="1348894"/>
                    <a:pt x="688705" y="1338274"/>
                  </a:cubicBezTo>
                  <a:cubicBezTo>
                    <a:pt x="487416" y="1327654"/>
                    <a:pt x="350414" y="1322198"/>
                    <a:pt x="38649" y="1338274"/>
                  </a:cubicBezTo>
                  <a:cubicBezTo>
                    <a:pt x="14814" y="1334921"/>
                    <a:pt x="-2330" y="1316237"/>
                    <a:pt x="0" y="1299625"/>
                  </a:cubicBezTo>
                  <a:cubicBezTo>
                    <a:pt x="-4135" y="1089540"/>
                    <a:pt x="-6561" y="984290"/>
                    <a:pt x="0" y="706966"/>
                  </a:cubicBezTo>
                  <a:cubicBezTo>
                    <a:pt x="6561" y="429642"/>
                    <a:pt x="-3248" y="202462"/>
                    <a:pt x="0" y="38649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3288172637">
                    <a:prstGeom prst="roundRect">
                      <a:avLst>
                        <a:gd name="adj" fmla="val 2888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1" name="Pop-Up Title Text Background">
              <a:extLst>
                <a:ext uri="{FF2B5EF4-FFF2-40B4-BE49-F238E27FC236}">
                  <a16:creationId xmlns:a16="http://schemas.microsoft.com/office/drawing/2014/main" id="{69EBB3A7-797B-4408-9C4A-15FF5BF0101B}"/>
                </a:ext>
              </a:extLst>
            </p:cNvPr>
            <p:cNvSpPr/>
            <p:nvPr/>
          </p:nvSpPr>
          <p:spPr>
            <a:xfrm>
              <a:off x="-3286667" y="10352774"/>
              <a:ext cx="2318870" cy="264160"/>
            </a:xfrm>
            <a:custGeom>
              <a:avLst/>
              <a:gdLst>
                <a:gd name="connsiteX0" fmla="*/ 0 w 2318870"/>
                <a:gd name="connsiteY0" fmla="*/ 7629 h 264160"/>
                <a:gd name="connsiteX1" fmla="*/ 7629 w 2318870"/>
                <a:gd name="connsiteY1" fmla="*/ 0 h 264160"/>
                <a:gd name="connsiteX2" fmla="*/ 560496 w 2318870"/>
                <a:gd name="connsiteY2" fmla="*/ 0 h 264160"/>
                <a:gd name="connsiteX3" fmla="*/ 1090327 w 2318870"/>
                <a:gd name="connsiteY3" fmla="*/ 0 h 264160"/>
                <a:gd name="connsiteX4" fmla="*/ 1597121 w 2318870"/>
                <a:gd name="connsiteY4" fmla="*/ 0 h 264160"/>
                <a:gd name="connsiteX5" fmla="*/ 2311241 w 2318870"/>
                <a:gd name="connsiteY5" fmla="*/ 0 h 264160"/>
                <a:gd name="connsiteX6" fmla="*/ 2318870 w 2318870"/>
                <a:gd name="connsiteY6" fmla="*/ 7629 h 264160"/>
                <a:gd name="connsiteX7" fmla="*/ 2318870 w 2318870"/>
                <a:gd name="connsiteY7" fmla="*/ 256531 h 264160"/>
                <a:gd name="connsiteX8" fmla="*/ 2311241 w 2318870"/>
                <a:gd name="connsiteY8" fmla="*/ 264160 h 264160"/>
                <a:gd name="connsiteX9" fmla="*/ 1804446 w 2318870"/>
                <a:gd name="connsiteY9" fmla="*/ 264160 h 264160"/>
                <a:gd name="connsiteX10" fmla="*/ 1182471 w 2318870"/>
                <a:gd name="connsiteY10" fmla="*/ 264160 h 264160"/>
                <a:gd name="connsiteX11" fmla="*/ 560496 w 2318870"/>
                <a:gd name="connsiteY11" fmla="*/ 264160 h 264160"/>
                <a:gd name="connsiteX12" fmla="*/ 7629 w 2318870"/>
                <a:gd name="connsiteY12" fmla="*/ 264160 h 264160"/>
                <a:gd name="connsiteX13" fmla="*/ 0 w 2318870"/>
                <a:gd name="connsiteY13" fmla="*/ 256531 h 264160"/>
                <a:gd name="connsiteX14" fmla="*/ 0 w 2318870"/>
                <a:gd name="connsiteY14" fmla="*/ 7629 h 26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18870" h="264160" fill="none" extrusionOk="0">
                  <a:moveTo>
                    <a:pt x="0" y="7629"/>
                  </a:moveTo>
                  <a:cubicBezTo>
                    <a:pt x="45" y="3199"/>
                    <a:pt x="3607" y="71"/>
                    <a:pt x="7629" y="0"/>
                  </a:cubicBezTo>
                  <a:cubicBezTo>
                    <a:pt x="211638" y="25371"/>
                    <a:pt x="355907" y="-4364"/>
                    <a:pt x="560496" y="0"/>
                  </a:cubicBezTo>
                  <a:cubicBezTo>
                    <a:pt x="765085" y="4364"/>
                    <a:pt x="882540" y="-20636"/>
                    <a:pt x="1090327" y="0"/>
                  </a:cubicBezTo>
                  <a:cubicBezTo>
                    <a:pt x="1298114" y="20636"/>
                    <a:pt x="1383206" y="8163"/>
                    <a:pt x="1597121" y="0"/>
                  </a:cubicBezTo>
                  <a:cubicBezTo>
                    <a:pt x="1811036" y="-8163"/>
                    <a:pt x="2018126" y="-27266"/>
                    <a:pt x="2311241" y="0"/>
                  </a:cubicBezTo>
                  <a:cubicBezTo>
                    <a:pt x="2315086" y="524"/>
                    <a:pt x="2318300" y="3541"/>
                    <a:pt x="2318870" y="7629"/>
                  </a:cubicBezTo>
                  <a:cubicBezTo>
                    <a:pt x="2324444" y="74606"/>
                    <a:pt x="2327760" y="203291"/>
                    <a:pt x="2318870" y="256531"/>
                  </a:cubicBezTo>
                  <a:cubicBezTo>
                    <a:pt x="2318665" y="260746"/>
                    <a:pt x="2315105" y="264993"/>
                    <a:pt x="2311241" y="264160"/>
                  </a:cubicBezTo>
                  <a:cubicBezTo>
                    <a:pt x="2119974" y="285429"/>
                    <a:pt x="1955470" y="253149"/>
                    <a:pt x="1804446" y="264160"/>
                  </a:cubicBezTo>
                  <a:cubicBezTo>
                    <a:pt x="1653423" y="275171"/>
                    <a:pt x="1350873" y="269884"/>
                    <a:pt x="1182471" y="264160"/>
                  </a:cubicBezTo>
                  <a:cubicBezTo>
                    <a:pt x="1014069" y="258436"/>
                    <a:pt x="775162" y="290887"/>
                    <a:pt x="560496" y="264160"/>
                  </a:cubicBezTo>
                  <a:cubicBezTo>
                    <a:pt x="345830" y="237433"/>
                    <a:pt x="147347" y="246484"/>
                    <a:pt x="7629" y="264160"/>
                  </a:cubicBezTo>
                  <a:cubicBezTo>
                    <a:pt x="4286" y="263853"/>
                    <a:pt x="-202" y="261610"/>
                    <a:pt x="0" y="256531"/>
                  </a:cubicBezTo>
                  <a:cubicBezTo>
                    <a:pt x="-9074" y="136790"/>
                    <a:pt x="1492" y="83117"/>
                    <a:pt x="0" y="7629"/>
                  </a:cubicBezTo>
                  <a:close/>
                </a:path>
                <a:path w="2318870" h="264160" stroke="0" extrusionOk="0">
                  <a:moveTo>
                    <a:pt x="0" y="7629"/>
                  </a:moveTo>
                  <a:cubicBezTo>
                    <a:pt x="34" y="3577"/>
                    <a:pt x="3827" y="-310"/>
                    <a:pt x="7629" y="0"/>
                  </a:cubicBezTo>
                  <a:cubicBezTo>
                    <a:pt x="256475" y="-26790"/>
                    <a:pt x="353663" y="9566"/>
                    <a:pt x="583532" y="0"/>
                  </a:cubicBezTo>
                  <a:cubicBezTo>
                    <a:pt x="813401" y="-9566"/>
                    <a:pt x="917934" y="1823"/>
                    <a:pt x="1182471" y="0"/>
                  </a:cubicBezTo>
                  <a:cubicBezTo>
                    <a:pt x="1447008" y="-1823"/>
                    <a:pt x="1552442" y="18337"/>
                    <a:pt x="1689266" y="0"/>
                  </a:cubicBezTo>
                  <a:cubicBezTo>
                    <a:pt x="1826090" y="-18337"/>
                    <a:pt x="2150928" y="-8690"/>
                    <a:pt x="2311241" y="0"/>
                  </a:cubicBezTo>
                  <a:cubicBezTo>
                    <a:pt x="2315609" y="-289"/>
                    <a:pt x="2319119" y="3279"/>
                    <a:pt x="2318870" y="7629"/>
                  </a:cubicBezTo>
                  <a:cubicBezTo>
                    <a:pt x="2308112" y="130527"/>
                    <a:pt x="2314220" y="150513"/>
                    <a:pt x="2318870" y="256531"/>
                  </a:cubicBezTo>
                  <a:cubicBezTo>
                    <a:pt x="2318749" y="260816"/>
                    <a:pt x="2315342" y="264828"/>
                    <a:pt x="2311241" y="264160"/>
                  </a:cubicBezTo>
                  <a:cubicBezTo>
                    <a:pt x="2052960" y="240729"/>
                    <a:pt x="1975225" y="282065"/>
                    <a:pt x="1758374" y="264160"/>
                  </a:cubicBezTo>
                  <a:cubicBezTo>
                    <a:pt x="1541523" y="246255"/>
                    <a:pt x="1360100" y="238808"/>
                    <a:pt x="1136399" y="264160"/>
                  </a:cubicBezTo>
                  <a:cubicBezTo>
                    <a:pt x="912698" y="289512"/>
                    <a:pt x="871394" y="278597"/>
                    <a:pt x="629604" y="264160"/>
                  </a:cubicBezTo>
                  <a:cubicBezTo>
                    <a:pt x="387815" y="249723"/>
                    <a:pt x="150998" y="253577"/>
                    <a:pt x="7629" y="264160"/>
                  </a:cubicBezTo>
                  <a:cubicBezTo>
                    <a:pt x="3192" y="264007"/>
                    <a:pt x="354" y="260884"/>
                    <a:pt x="0" y="256531"/>
                  </a:cubicBezTo>
                  <a:cubicBezTo>
                    <a:pt x="1751" y="179389"/>
                    <a:pt x="-6778" y="107802"/>
                    <a:pt x="0" y="7629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3163944810">
                    <a:prstGeom prst="roundRect">
                      <a:avLst>
                        <a:gd name="adj" fmla="val 2888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2" name="Pop-Up Title Text">
              <a:extLst>
                <a:ext uri="{FF2B5EF4-FFF2-40B4-BE49-F238E27FC236}">
                  <a16:creationId xmlns:a16="http://schemas.microsoft.com/office/drawing/2014/main" id="{4DB19F19-4C9F-48AF-B9F3-F923D02CEF23}"/>
                </a:ext>
              </a:extLst>
            </p:cNvPr>
            <p:cNvSpPr txBox="1"/>
            <p:nvPr/>
          </p:nvSpPr>
          <p:spPr>
            <a:xfrm>
              <a:off x="-3184779" y="10418192"/>
              <a:ext cx="1733916" cy="143607"/>
            </a:xfrm>
            <a:prstGeom prst="rect">
              <a:avLst/>
            </a:prstGeom>
            <a:noFill/>
          </p:spPr>
          <p:txBody>
            <a:bodyPr wrap="square" lIns="0" tIns="0" bIns="0" rtlCol="0">
              <a:spAutoFit/>
            </a:bodyPr>
            <a:lstStyle/>
            <a:p>
              <a:r>
                <a:rPr lang="en-US" sz="7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</p:txBody>
        </p:sp>
        <p:sp>
          <p:nvSpPr>
            <p:cNvPr id="303" name="Pop-Up Body Text">
              <a:extLst>
                <a:ext uri="{FF2B5EF4-FFF2-40B4-BE49-F238E27FC236}">
                  <a16:creationId xmlns:a16="http://schemas.microsoft.com/office/drawing/2014/main" id="{2363AA01-6A1D-482E-B8B8-C1B91709FCE0}"/>
                </a:ext>
              </a:extLst>
            </p:cNvPr>
            <p:cNvSpPr txBox="1"/>
            <p:nvPr/>
          </p:nvSpPr>
          <p:spPr>
            <a:xfrm>
              <a:off x="-3164239" y="10924464"/>
              <a:ext cx="2112054" cy="194895"/>
            </a:xfrm>
            <a:prstGeom prst="rect">
              <a:avLst/>
            </a:prstGeom>
            <a:noFill/>
          </p:spPr>
          <p:txBody>
            <a:bodyPr wrap="square" lIns="0" tIns="0" rtlCol="0">
              <a:spAutoFit/>
            </a:bodyPr>
            <a:lstStyle/>
            <a:p>
              <a:pPr algn="ctr"/>
              <a:r>
                <a:rPr lang="en-US" sz="65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dy Text Here</a:t>
              </a:r>
            </a:p>
          </p:txBody>
        </p:sp>
        <p:sp>
          <p:nvSpPr>
            <p:cNvPr id="304" name="Close Icon">
              <a:extLst>
                <a:ext uri="{FF2B5EF4-FFF2-40B4-BE49-F238E27FC236}">
                  <a16:creationId xmlns:a16="http://schemas.microsoft.com/office/drawing/2014/main" id="{ED230D2F-82FB-4D75-8D84-B513E2F3A18B}"/>
                </a:ext>
              </a:extLst>
            </p:cNvPr>
            <p:cNvSpPr/>
            <p:nvPr/>
          </p:nvSpPr>
          <p:spPr>
            <a:xfrm rot="16200000">
              <a:off x="-1194326" y="10407835"/>
              <a:ext cx="170661" cy="170661"/>
            </a:xfrm>
            <a:prstGeom prst="mathMultiply">
              <a:avLst>
                <a:gd name="adj1" fmla="val 13291"/>
              </a:avLst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5" name="Button">
              <a:extLst>
                <a:ext uri="{FF2B5EF4-FFF2-40B4-BE49-F238E27FC236}">
                  <a16:creationId xmlns:a16="http://schemas.microsoft.com/office/drawing/2014/main" id="{C1DD1E46-ED76-4564-B74B-9899588FC678}"/>
                </a:ext>
              </a:extLst>
            </p:cNvPr>
            <p:cNvSpPr/>
            <p:nvPr/>
          </p:nvSpPr>
          <p:spPr>
            <a:xfrm>
              <a:off x="-2976410" y="11307756"/>
              <a:ext cx="785147" cy="194895"/>
            </a:xfrm>
            <a:custGeom>
              <a:avLst/>
              <a:gdLst>
                <a:gd name="connsiteX0" fmla="*/ 0 w 785147"/>
                <a:gd name="connsiteY0" fmla="*/ 12245 h 194895"/>
                <a:gd name="connsiteX1" fmla="*/ 12245 w 785147"/>
                <a:gd name="connsiteY1" fmla="*/ 0 h 194895"/>
                <a:gd name="connsiteX2" fmla="*/ 377360 w 785147"/>
                <a:gd name="connsiteY2" fmla="*/ 0 h 194895"/>
                <a:gd name="connsiteX3" fmla="*/ 772902 w 785147"/>
                <a:gd name="connsiteY3" fmla="*/ 0 h 194895"/>
                <a:gd name="connsiteX4" fmla="*/ 785147 w 785147"/>
                <a:gd name="connsiteY4" fmla="*/ 12245 h 194895"/>
                <a:gd name="connsiteX5" fmla="*/ 785147 w 785147"/>
                <a:gd name="connsiteY5" fmla="*/ 182650 h 194895"/>
                <a:gd name="connsiteX6" fmla="*/ 772902 w 785147"/>
                <a:gd name="connsiteY6" fmla="*/ 194895 h 194895"/>
                <a:gd name="connsiteX7" fmla="*/ 407787 w 785147"/>
                <a:gd name="connsiteY7" fmla="*/ 194895 h 194895"/>
                <a:gd name="connsiteX8" fmla="*/ 12245 w 785147"/>
                <a:gd name="connsiteY8" fmla="*/ 194895 h 194895"/>
                <a:gd name="connsiteX9" fmla="*/ 0 w 785147"/>
                <a:gd name="connsiteY9" fmla="*/ 182650 h 194895"/>
                <a:gd name="connsiteX10" fmla="*/ 0 w 785147"/>
                <a:gd name="connsiteY10" fmla="*/ 12245 h 19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5147" h="194895" extrusionOk="0">
                  <a:moveTo>
                    <a:pt x="0" y="12245"/>
                  </a:moveTo>
                  <a:cubicBezTo>
                    <a:pt x="247" y="4235"/>
                    <a:pt x="5184" y="153"/>
                    <a:pt x="12245" y="0"/>
                  </a:cubicBezTo>
                  <a:cubicBezTo>
                    <a:pt x="158023" y="-1657"/>
                    <a:pt x="296940" y="8668"/>
                    <a:pt x="377360" y="0"/>
                  </a:cubicBezTo>
                  <a:cubicBezTo>
                    <a:pt x="457781" y="-8668"/>
                    <a:pt x="577860" y="-6314"/>
                    <a:pt x="772902" y="0"/>
                  </a:cubicBezTo>
                  <a:cubicBezTo>
                    <a:pt x="780411" y="325"/>
                    <a:pt x="783862" y="6248"/>
                    <a:pt x="785147" y="12245"/>
                  </a:cubicBezTo>
                  <a:cubicBezTo>
                    <a:pt x="791649" y="89085"/>
                    <a:pt x="786760" y="123471"/>
                    <a:pt x="785147" y="182650"/>
                  </a:cubicBezTo>
                  <a:cubicBezTo>
                    <a:pt x="784815" y="189494"/>
                    <a:pt x="778557" y="195230"/>
                    <a:pt x="772902" y="194895"/>
                  </a:cubicBezTo>
                  <a:cubicBezTo>
                    <a:pt x="617173" y="207663"/>
                    <a:pt x="509104" y="183647"/>
                    <a:pt x="407787" y="194895"/>
                  </a:cubicBezTo>
                  <a:cubicBezTo>
                    <a:pt x="306471" y="206143"/>
                    <a:pt x="183856" y="194065"/>
                    <a:pt x="12245" y="194895"/>
                  </a:cubicBezTo>
                  <a:cubicBezTo>
                    <a:pt x="6177" y="194980"/>
                    <a:pt x="129" y="188384"/>
                    <a:pt x="0" y="182650"/>
                  </a:cubicBezTo>
                  <a:cubicBezTo>
                    <a:pt x="-6383" y="134783"/>
                    <a:pt x="-5478" y="86644"/>
                    <a:pt x="0" y="12245"/>
                  </a:cubicBezTo>
                  <a:close/>
                </a:path>
              </a:pathLst>
            </a:cu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534344286">
                    <a:prstGeom prst="roundRect">
                      <a:avLst>
                        <a:gd name="adj" fmla="val 6283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spc="2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UTTON</a:t>
              </a:r>
            </a:p>
          </p:txBody>
        </p:sp>
        <p:sp>
          <p:nvSpPr>
            <p:cNvPr id="306" name="Selected Button">
              <a:extLst>
                <a:ext uri="{FF2B5EF4-FFF2-40B4-BE49-F238E27FC236}">
                  <a16:creationId xmlns:a16="http://schemas.microsoft.com/office/drawing/2014/main" id="{852885C6-C013-43DB-A9D1-DC1DF00E9D63}"/>
                </a:ext>
              </a:extLst>
            </p:cNvPr>
            <p:cNvSpPr/>
            <p:nvPr/>
          </p:nvSpPr>
          <p:spPr>
            <a:xfrm>
              <a:off x="-2091270" y="11297273"/>
              <a:ext cx="780166" cy="205377"/>
            </a:xfrm>
            <a:custGeom>
              <a:avLst/>
              <a:gdLst>
                <a:gd name="connsiteX0" fmla="*/ 0 w 780166"/>
                <a:gd name="connsiteY0" fmla="*/ 12904 h 205377"/>
                <a:gd name="connsiteX1" fmla="*/ 12904 w 780166"/>
                <a:gd name="connsiteY1" fmla="*/ 0 h 205377"/>
                <a:gd name="connsiteX2" fmla="*/ 382539 w 780166"/>
                <a:gd name="connsiteY2" fmla="*/ 0 h 205377"/>
                <a:gd name="connsiteX3" fmla="*/ 767262 w 780166"/>
                <a:gd name="connsiteY3" fmla="*/ 0 h 205377"/>
                <a:gd name="connsiteX4" fmla="*/ 780166 w 780166"/>
                <a:gd name="connsiteY4" fmla="*/ 12904 h 205377"/>
                <a:gd name="connsiteX5" fmla="*/ 780166 w 780166"/>
                <a:gd name="connsiteY5" fmla="*/ 192473 h 205377"/>
                <a:gd name="connsiteX6" fmla="*/ 767262 w 780166"/>
                <a:gd name="connsiteY6" fmla="*/ 205377 h 205377"/>
                <a:gd name="connsiteX7" fmla="*/ 382539 w 780166"/>
                <a:gd name="connsiteY7" fmla="*/ 205377 h 205377"/>
                <a:gd name="connsiteX8" fmla="*/ 12904 w 780166"/>
                <a:gd name="connsiteY8" fmla="*/ 205377 h 205377"/>
                <a:gd name="connsiteX9" fmla="*/ 0 w 780166"/>
                <a:gd name="connsiteY9" fmla="*/ 192473 h 205377"/>
                <a:gd name="connsiteX10" fmla="*/ 0 w 780166"/>
                <a:gd name="connsiteY10" fmla="*/ 12904 h 20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0166" h="205377" fill="none" extrusionOk="0">
                  <a:moveTo>
                    <a:pt x="0" y="12904"/>
                  </a:moveTo>
                  <a:cubicBezTo>
                    <a:pt x="-1516" y="5652"/>
                    <a:pt x="6730" y="494"/>
                    <a:pt x="12904" y="0"/>
                  </a:cubicBezTo>
                  <a:cubicBezTo>
                    <a:pt x="91254" y="9089"/>
                    <a:pt x="278191" y="-4350"/>
                    <a:pt x="382539" y="0"/>
                  </a:cubicBezTo>
                  <a:cubicBezTo>
                    <a:pt x="486887" y="4350"/>
                    <a:pt x="635479" y="-18163"/>
                    <a:pt x="767262" y="0"/>
                  </a:cubicBezTo>
                  <a:cubicBezTo>
                    <a:pt x="774840" y="797"/>
                    <a:pt x="780529" y="4850"/>
                    <a:pt x="780166" y="12904"/>
                  </a:cubicBezTo>
                  <a:cubicBezTo>
                    <a:pt x="775712" y="56426"/>
                    <a:pt x="788278" y="151261"/>
                    <a:pt x="780166" y="192473"/>
                  </a:cubicBezTo>
                  <a:cubicBezTo>
                    <a:pt x="781841" y="198993"/>
                    <a:pt x="774076" y="205435"/>
                    <a:pt x="767262" y="205377"/>
                  </a:cubicBezTo>
                  <a:cubicBezTo>
                    <a:pt x="613934" y="220725"/>
                    <a:pt x="481804" y="187621"/>
                    <a:pt x="382539" y="205377"/>
                  </a:cubicBezTo>
                  <a:cubicBezTo>
                    <a:pt x="283274" y="223133"/>
                    <a:pt x="121162" y="193042"/>
                    <a:pt x="12904" y="205377"/>
                  </a:cubicBezTo>
                  <a:cubicBezTo>
                    <a:pt x="5325" y="203997"/>
                    <a:pt x="-1269" y="198591"/>
                    <a:pt x="0" y="192473"/>
                  </a:cubicBezTo>
                  <a:cubicBezTo>
                    <a:pt x="-635" y="112210"/>
                    <a:pt x="415" y="63468"/>
                    <a:pt x="0" y="12904"/>
                  </a:cubicBezTo>
                  <a:close/>
                </a:path>
                <a:path w="780166" h="205377" stroke="0" extrusionOk="0">
                  <a:moveTo>
                    <a:pt x="0" y="12904"/>
                  </a:moveTo>
                  <a:cubicBezTo>
                    <a:pt x="-37" y="4803"/>
                    <a:pt x="5839" y="-242"/>
                    <a:pt x="12904" y="0"/>
                  </a:cubicBezTo>
                  <a:cubicBezTo>
                    <a:pt x="140037" y="-2131"/>
                    <a:pt x="274847" y="3062"/>
                    <a:pt x="390083" y="0"/>
                  </a:cubicBezTo>
                  <a:cubicBezTo>
                    <a:pt x="505319" y="-3062"/>
                    <a:pt x="610673" y="17819"/>
                    <a:pt x="767262" y="0"/>
                  </a:cubicBezTo>
                  <a:cubicBezTo>
                    <a:pt x="774756" y="245"/>
                    <a:pt x="780172" y="5576"/>
                    <a:pt x="780166" y="12904"/>
                  </a:cubicBezTo>
                  <a:cubicBezTo>
                    <a:pt x="788366" y="64314"/>
                    <a:pt x="774594" y="107322"/>
                    <a:pt x="780166" y="192473"/>
                  </a:cubicBezTo>
                  <a:cubicBezTo>
                    <a:pt x="780730" y="199799"/>
                    <a:pt x="775281" y="205815"/>
                    <a:pt x="767262" y="205377"/>
                  </a:cubicBezTo>
                  <a:cubicBezTo>
                    <a:pt x="616627" y="212773"/>
                    <a:pt x="491132" y="201895"/>
                    <a:pt x="397627" y="205377"/>
                  </a:cubicBezTo>
                  <a:cubicBezTo>
                    <a:pt x="304122" y="208859"/>
                    <a:pt x="114161" y="186212"/>
                    <a:pt x="12904" y="205377"/>
                  </a:cubicBezTo>
                  <a:cubicBezTo>
                    <a:pt x="6655" y="205527"/>
                    <a:pt x="-1340" y="199129"/>
                    <a:pt x="0" y="192473"/>
                  </a:cubicBezTo>
                  <a:cubicBezTo>
                    <a:pt x="7009" y="110568"/>
                    <a:pt x="4012" y="99466"/>
                    <a:pt x="0" y="12904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840085560">
                    <a:prstGeom prst="roundRect">
                      <a:avLst>
                        <a:gd name="adj" fmla="val 6283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spc="20">
                  <a:solidFill>
                    <a:schemeClr val="bg1"/>
                  </a:solidFill>
                </a:rPr>
                <a:t>BUTTON</a:t>
              </a:r>
            </a:p>
          </p:txBody>
        </p:sp>
      </p:grpSp>
      <p:grpSp>
        <p:nvGrpSpPr>
          <p:cNvPr id="158" name="Drag File Here">
            <a:extLst>
              <a:ext uri="{FF2B5EF4-FFF2-40B4-BE49-F238E27FC236}">
                <a16:creationId xmlns:a16="http://schemas.microsoft.com/office/drawing/2014/main" id="{38F35262-444B-4F14-8A21-7F4869DF846F}"/>
              </a:ext>
            </a:extLst>
          </p:cNvPr>
          <p:cNvGrpSpPr/>
          <p:nvPr/>
        </p:nvGrpSpPr>
        <p:grpSpPr>
          <a:xfrm>
            <a:off x="2331665" y="5355943"/>
            <a:ext cx="1042416" cy="950976"/>
            <a:chOff x="7150847" y="7721600"/>
            <a:chExt cx="1279613" cy="770965"/>
          </a:xfrm>
        </p:grpSpPr>
        <p:sp>
          <p:nvSpPr>
            <p:cNvPr id="259" name="Drag File Box Outline">
              <a:extLst>
                <a:ext uri="{FF2B5EF4-FFF2-40B4-BE49-F238E27FC236}">
                  <a16:creationId xmlns:a16="http://schemas.microsoft.com/office/drawing/2014/main" id="{76F90F03-C381-4F28-A241-5CC2086F58C6}"/>
                </a:ext>
              </a:extLst>
            </p:cNvPr>
            <p:cNvSpPr/>
            <p:nvPr/>
          </p:nvSpPr>
          <p:spPr>
            <a:xfrm>
              <a:off x="7150847" y="7721600"/>
              <a:ext cx="1279613" cy="770965"/>
            </a:xfrm>
            <a:custGeom>
              <a:avLst/>
              <a:gdLst>
                <a:gd name="connsiteX0" fmla="*/ 0 w 1279613"/>
                <a:gd name="connsiteY0" fmla="*/ 4672 h 770965"/>
                <a:gd name="connsiteX1" fmla="*/ 4672 w 1279613"/>
                <a:gd name="connsiteY1" fmla="*/ 0 h 770965"/>
                <a:gd name="connsiteX2" fmla="*/ 652509 w 1279613"/>
                <a:gd name="connsiteY2" fmla="*/ 0 h 770965"/>
                <a:gd name="connsiteX3" fmla="*/ 1274941 w 1279613"/>
                <a:gd name="connsiteY3" fmla="*/ 0 h 770965"/>
                <a:gd name="connsiteX4" fmla="*/ 1279613 w 1279613"/>
                <a:gd name="connsiteY4" fmla="*/ 4672 h 770965"/>
                <a:gd name="connsiteX5" fmla="*/ 1279613 w 1279613"/>
                <a:gd name="connsiteY5" fmla="*/ 385483 h 770965"/>
                <a:gd name="connsiteX6" fmla="*/ 1279613 w 1279613"/>
                <a:gd name="connsiteY6" fmla="*/ 766293 h 770965"/>
                <a:gd name="connsiteX7" fmla="*/ 1274941 w 1279613"/>
                <a:gd name="connsiteY7" fmla="*/ 770965 h 770965"/>
                <a:gd name="connsiteX8" fmla="*/ 652509 w 1279613"/>
                <a:gd name="connsiteY8" fmla="*/ 770965 h 770965"/>
                <a:gd name="connsiteX9" fmla="*/ 4672 w 1279613"/>
                <a:gd name="connsiteY9" fmla="*/ 770965 h 770965"/>
                <a:gd name="connsiteX10" fmla="*/ 0 w 1279613"/>
                <a:gd name="connsiteY10" fmla="*/ 766293 h 770965"/>
                <a:gd name="connsiteX11" fmla="*/ 0 w 1279613"/>
                <a:gd name="connsiteY11" fmla="*/ 385483 h 770965"/>
                <a:gd name="connsiteX12" fmla="*/ 0 w 1279613"/>
                <a:gd name="connsiteY12" fmla="*/ 4672 h 77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9613" h="770965" fill="none" extrusionOk="0">
                  <a:moveTo>
                    <a:pt x="0" y="4672"/>
                  </a:moveTo>
                  <a:cubicBezTo>
                    <a:pt x="-109" y="2110"/>
                    <a:pt x="1861" y="64"/>
                    <a:pt x="4672" y="0"/>
                  </a:cubicBezTo>
                  <a:cubicBezTo>
                    <a:pt x="168378" y="14292"/>
                    <a:pt x="519265" y="-19746"/>
                    <a:pt x="652509" y="0"/>
                  </a:cubicBezTo>
                  <a:cubicBezTo>
                    <a:pt x="785753" y="19746"/>
                    <a:pt x="1121813" y="4644"/>
                    <a:pt x="1274941" y="0"/>
                  </a:cubicBezTo>
                  <a:cubicBezTo>
                    <a:pt x="1277888" y="-41"/>
                    <a:pt x="1279345" y="2525"/>
                    <a:pt x="1279613" y="4672"/>
                  </a:cubicBezTo>
                  <a:cubicBezTo>
                    <a:pt x="1264663" y="152314"/>
                    <a:pt x="1285670" y="257041"/>
                    <a:pt x="1279613" y="385483"/>
                  </a:cubicBezTo>
                  <a:cubicBezTo>
                    <a:pt x="1273556" y="513925"/>
                    <a:pt x="1294810" y="584968"/>
                    <a:pt x="1279613" y="766293"/>
                  </a:cubicBezTo>
                  <a:cubicBezTo>
                    <a:pt x="1279786" y="769422"/>
                    <a:pt x="1277390" y="771213"/>
                    <a:pt x="1274941" y="770965"/>
                  </a:cubicBezTo>
                  <a:cubicBezTo>
                    <a:pt x="1080345" y="778933"/>
                    <a:pt x="821787" y="771430"/>
                    <a:pt x="652509" y="770965"/>
                  </a:cubicBezTo>
                  <a:cubicBezTo>
                    <a:pt x="483231" y="770500"/>
                    <a:pt x="221454" y="799350"/>
                    <a:pt x="4672" y="770965"/>
                  </a:cubicBezTo>
                  <a:cubicBezTo>
                    <a:pt x="2270" y="770820"/>
                    <a:pt x="421" y="768885"/>
                    <a:pt x="0" y="766293"/>
                  </a:cubicBezTo>
                  <a:cubicBezTo>
                    <a:pt x="-15731" y="604756"/>
                    <a:pt x="12932" y="549474"/>
                    <a:pt x="0" y="385483"/>
                  </a:cubicBezTo>
                  <a:cubicBezTo>
                    <a:pt x="-12932" y="221492"/>
                    <a:pt x="-7049" y="162498"/>
                    <a:pt x="0" y="4672"/>
                  </a:cubicBezTo>
                  <a:close/>
                </a:path>
                <a:path w="1279613" h="770965" stroke="0" extrusionOk="0">
                  <a:moveTo>
                    <a:pt x="0" y="4672"/>
                  </a:moveTo>
                  <a:cubicBezTo>
                    <a:pt x="-24" y="1737"/>
                    <a:pt x="2174" y="-249"/>
                    <a:pt x="4672" y="0"/>
                  </a:cubicBezTo>
                  <a:cubicBezTo>
                    <a:pt x="151534" y="27786"/>
                    <a:pt x="454337" y="-19518"/>
                    <a:pt x="614401" y="0"/>
                  </a:cubicBezTo>
                  <a:cubicBezTo>
                    <a:pt x="774465" y="19518"/>
                    <a:pt x="1037887" y="-6955"/>
                    <a:pt x="1274941" y="0"/>
                  </a:cubicBezTo>
                  <a:cubicBezTo>
                    <a:pt x="1277771" y="458"/>
                    <a:pt x="1279613" y="2158"/>
                    <a:pt x="1279613" y="4672"/>
                  </a:cubicBezTo>
                  <a:cubicBezTo>
                    <a:pt x="1274234" y="113782"/>
                    <a:pt x="1286544" y="223303"/>
                    <a:pt x="1279613" y="370250"/>
                  </a:cubicBezTo>
                  <a:cubicBezTo>
                    <a:pt x="1272682" y="517197"/>
                    <a:pt x="1283027" y="646822"/>
                    <a:pt x="1279613" y="766293"/>
                  </a:cubicBezTo>
                  <a:cubicBezTo>
                    <a:pt x="1279764" y="768333"/>
                    <a:pt x="1277651" y="771255"/>
                    <a:pt x="1274941" y="770965"/>
                  </a:cubicBezTo>
                  <a:cubicBezTo>
                    <a:pt x="966478" y="751046"/>
                    <a:pt x="859191" y="772656"/>
                    <a:pt x="652509" y="770965"/>
                  </a:cubicBezTo>
                  <a:cubicBezTo>
                    <a:pt x="445827" y="769274"/>
                    <a:pt x="321349" y="746082"/>
                    <a:pt x="4672" y="770965"/>
                  </a:cubicBezTo>
                  <a:cubicBezTo>
                    <a:pt x="1908" y="771360"/>
                    <a:pt x="-147" y="769067"/>
                    <a:pt x="0" y="766293"/>
                  </a:cubicBezTo>
                  <a:cubicBezTo>
                    <a:pt x="12797" y="687860"/>
                    <a:pt x="-10327" y="485006"/>
                    <a:pt x="0" y="385483"/>
                  </a:cubicBezTo>
                  <a:cubicBezTo>
                    <a:pt x="10327" y="285960"/>
                    <a:pt x="406" y="92416"/>
                    <a:pt x="0" y="467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lgDash"/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606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0" name="Drag File Here Text">
              <a:extLst>
                <a:ext uri="{FF2B5EF4-FFF2-40B4-BE49-F238E27FC236}">
                  <a16:creationId xmlns:a16="http://schemas.microsoft.com/office/drawing/2014/main" id="{5DEB68AF-A797-4297-B7A2-92DCB892281D}"/>
                </a:ext>
              </a:extLst>
            </p:cNvPr>
            <p:cNvSpPr txBox="1"/>
            <p:nvPr/>
          </p:nvSpPr>
          <p:spPr>
            <a:xfrm>
              <a:off x="7314328" y="8054877"/>
              <a:ext cx="914400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noAutofit/>
            </a:bodyPr>
            <a:lstStyle/>
            <a:p>
              <a:pPr algn="ctr"/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Drag File Here</a:t>
              </a:r>
            </a:p>
          </p:txBody>
        </p:sp>
      </p:grpSp>
      <p:grpSp>
        <p:nvGrpSpPr>
          <p:cNvPr id="172" name="Submit Bar">
            <a:extLst>
              <a:ext uri="{FF2B5EF4-FFF2-40B4-BE49-F238E27FC236}">
                <a16:creationId xmlns:a16="http://schemas.microsoft.com/office/drawing/2014/main" id="{D83ADB6C-E0CC-4A79-A6B3-33B5CEA0A2BE}"/>
              </a:ext>
            </a:extLst>
          </p:cNvPr>
          <p:cNvGrpSpPr/>
          <p:nvPr/>
        </p:nvGrpSpPr>
        <p:grpSpPr>
          <a:xfrm>
            <a:off x="498182" y="4974826"/>
            <a:ext cx="2862072" cy="210312"/>
            <a:chOff x="314422" y="4283541"/>
            <a:chExt cx="2790296" cy="223159"/>
          </a:xfrm>
        </p:grpSpPr>
        <p:sp>
          <p:nvSpPr>
            <p:cNvPr id="252" name="Submit Bar Background">
              <a:extLst>
                <a:ext uri="{FF2B5EF4-FFF2-40B4-BE49-F238E27FC236}">
                  <a16:creationId xmlns:a16="http://schemas.microsoft.com/office/drawing/2014/main" id="{3E5ED740-BE8C-42CA-B28E-EFC7C0FC2087}"/>
                </a:ext>
              </a:extLst>
            </p:cNvPr>
            <p:cNvSpPr/>
            <p:nvPr/>
          </p:nvSpPr>
          <p:spPr>
            <a:xfrm>
              <a:off x="316214" y="4284076"/>
              <a:ext cx="2787982" cy="222624"/>
            </a:xfrm>
            <a:custGeom>
              <a:avLst/>
              <a:gdLst>
                <a:gd name="connsiteX0" fmla="*/ 0 w 2787982"/>
                <a:gd name="connsiteY0" fmla="*/ 10913 h 222624"/>
                <a:gd name="connsiteX1" fmla="*/ 10913 w 2787982"/>
                <a:gd name="connsiteY1" fmla="*/ 0 h 222624"/>
                <a:gd name="connsiteX2" fmla="*/ 674790 w 2787982"/>
                <a:gd name="connsiteY2" fmla="*/ 0 h 222624"/>
                <a:gd name="connsiteX3" fmla="*/ 1338668 w 2787982"/>
                <a:gd name="connsiteY3" fmla="*/ 0 h 222624"/>
                <a:gd name="connsiteX4" fmla="*/ 2057868 w 2787982"/>
                <a:gd name="connsiteY4" fmla="*/ 0 h 222624"/>
                <a:gd name="connsiteX5" fmla="*/ 2777069 w 2787982"/>
                <a:gd name="connsiteY5" fmla="*/ 0 h 222624"/>
                <a:gd name="connsiteX6" fmla="*/ 2787982 w 2787982"/>
                <a:gd name="connsiteY6" fmla="*/ 10913 h 222624"/>
                <a:gd name="connsiteX7" fmla="*/ 2787982 w 2787982"/>
                <a:gd name="connsiteY7" fmla="*/ 211711 h 222624"/>
                <a:gd name="connsiteX8" fmla="*/ 2777069 w 2787982"/>
                <a:gd name="connsiteY8" fmla="*/ 222624 h 222624"/>
                <a:gd name="connsiteX9" fmla="*/ 2085530 w 2787982"/>
                <a:gd name="connsiteY9" fmla="*/ 222624 h 222624"/>
                <a:gd name="connsiteX10" fmla="*/ 1449314 w 2787982"/>
                <a:gd name="connsiteY10" fmla="*/ 222624 h 222624"/>
                <a:gd name="connsiteX11" fmla="*/ 813098 w 2787982"/>
                <a:gd name="connsiteY11" fmla="*/ 222624 h 222624"/>
                <a:gd name="connsiteX12" fmla="*/ 10913 w 2787982"/>
                <a:gd name="connsiteY12" fmla="*/ 222624 h 222624"/>
                <a:gd name="connsiteX13" fmla="*/ 0 w 2787982"/>
                <a:gd name="connsiteY13" fmla="*/ 211711 h 222624"/>
                <a:gd name="connsiteX14" fmla="*/ 0 w 2787982"/>
                <a:gd name="connsiteY14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87982" h="222624" fill="none" extrusionOk="0">
                  <a:moveTo>
                    <a:pt x="0" y="10913"/>
                  </a:moveTo>
                  <a:cubicBezTo>
                    <a:pt x="564" y="6092"/>
                    <a:pt x="3422" y="-356"/>
                    <a:pt x="10913" y="0"/>
                  </a:cubicBezTo>
                  <a:cubicBezTo>
                    <a:pt x="249890" y="-27063"/>
                    <a:pt x="521271" y="26042"/>
                    <a:pt x="674790" y="0"/>
                  </a:cubicBezTo>
                  <a:cubicBezTo>
                    <a:pt x="828309" y="-26042"/>
                    <a:pt x="1165383" y="-23235"/>
                    <a:pt x="1338668" y="0"/>
                  </a:cubicBezTo>
                  <a:cubicBezTo>
                    <a:pt x="1511953" y="23235"/>
                    <a:pt x="1867498" y="-29286"/>
                    <a:pt x="2057868" y="0"/>
                  </a:cubicBezTo>
                  <a:cubicBezTo>
                    <a:pt x="2248238" y="29286"/>
                    <a:pt x="2568195" y="-11279"/>
                    <a:pt x="2777069" y="0"/>
                  </a:cubicBezTo>
                  <a:cubicBezTo>
                    <a:pt x="2782261" y="643"/>
                    <a:pt x="2787225" y="5236"/>
                    <a:pt x="2787982" y="10913"/>
                  </a:cubicBezTo>
                  <a:cubicBezTo>
                    <a:pt x="2788115" y="78119"/>
                    <a:pt x="2782226" y="119246"/>
                    <a:pt x="2787982" y="211711"/>
                  </a:cubicBezTo>
                  <a:cubicBezTo>
                    <a:pt x="2787706" y="217582"/>
                    <a:pt x="2783317" y="222603"/>
                    <a:pt x="2777069" y="222624"/>
                  </a:cubicBezTo>
                  <a:cubicBezTo>
                    <a:pt x="2539929" y="250980"/>
                    <a:pt x="2422078" y="229667"/>
                    <a:pt x="2085530" y="222624"/>
                  </a:cubicBezTo>
                  <a:cubicBezTo>
                    <a:pt x="1748982" y="215581"/>
                    <a:pt x="1758012" y="214260"/>
                    <a:pt x="1449314" y="222624"/>
                  </a:cubicBezTo>
                  <a:cubicBezTo>
                    <a:pt x="1140616" y="230988"/>
                    <a:pt x="1064988" y="196615"/>
                    <a:pt x="813098" y="222624"/>
                  </a:cubicBezTo>
                  <a:cubicBezTo>
                    <a:pt x="561208" y="248633"/>
                    <a:pt x="349546" y="201770"/>
                    <a:pt x="10913" y="222624"/>
                  </a:cubicBezTo>
                  <a:cubicBezTo>
                    <a:pt x="5195" y="221156"/>
                    <a:pt x="441" y="217485"/>
                    <a:pt x="0" y="211711"/>
                  </a:cubicBezTo>
                  <a:cubicBezTo>
                    <a:pt x="1849" y="146393"/>
                    <a:pt x="-649" y="108674"/>
                    <a:pt x="0" y="10913"/>
                  </a:cubicBezTo>
                  <a:close/>
                </a:path>
                <a:path w="2787982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275699" y="505"/>
                    <a:pt x="516588" y="-10800"/>
                    <a:pt x="730114" y="0"/>
                  </a:cubicBezTo>
                  <a:cubicBezTo>
                    <a:pt x="943640" y="10800"/>
                    <a:pt x="1288194" y="-5631"/>
                    <a:pt x="1476976" y="0"/>
                  </a:cubicBezTo>
                  <a:cubicBezTo>
                    <a:pt x="1665758" y="5631"/>
                    <a:pt x="2181071" y="64161"/>
                    <a:pt x="2777069" y="0"/>
                  </a:cubicBezTo>
                  <a:cubicBezTo>
                    <a:pt x="2782290" y="-150"/>
                    <a:pt x="2788512" y="5207"/>
                    <a:pt x="2787982" y="10913"/>
                  </a:cubicBezTo>
                  <a:cubicBezTo>
                    <a:pt x="2785169" y="88248"/>
                    <a:pt x="2785922" y="114887"/>
                    <a:pt x="2787982" y="211711"/>
                  </a:cubicBezTo>
                  <a:cubicBezTo>
                    <a:pt x="2787705" y="216706"/>
                    <a:pt x="2782105" y="222068"/>
                    <a:pt x="2777069" y="222624"/>
                  </a:cubicBezTo>
                  <a:cubicBezTo>
                    <a:pt x="2648189" y="246124"/>
                    <a:pt x="2373813" y="197733"/>
                    <a:pt x="2168515" y="222624"/>
                  </a:cubicBezTo>
                  <a:cubicBezTo>
                    <a:pt x="1963217" y="247515"/>
                    <a:pt x="1813799" y="252926"/>
                    <a:pt x="1476976" y="222624"/>
                  </a:cubicBezTo>
                  <a:cubicBezTo>
                    <a:pt x="1140153" y="192322"/>
                    <a:pt x="1143624" y="230884"/>
                    <a:pt x="813098" y="222624"/>
                  </a:cubicBezTo>
                  <a:cubicBezTo>
                    <a:pt x="482572" y="214364"/>
                    <a:pt x="229660" y="212922"/>
                    <a:pt x="10913" y="222624"/>
                  </a:cubicBezTo>
                  <a:cubicBezTo>
                    <a:pt x="4942" y="221797"/>
                    <a:pt x="-425" y="218486"/>
                    <a:pt x="0" y="211711"/>
                  </a:cubicBezTo>
                  <a:cubicBezTo>
                    <a:pt x="-61" y="153860"/>
                    <a:pt x="-9970" y="78938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3" name="Submit Text Background">
              <a:extLst>
                <a:ext uri="{FF2B5EF4-FFF2-40B4-BE49-F238E27FC236}">
                  <a16:creationId xmlns:a16="http://schemas.microsoft.com/office/drawing/2014/main" id="{CAA3F9A1-4136-4C40-A5ED-8235A55F2D3C}"/>
                </a:ext>
              </a:extLst>
            </p:cNvPr>
            <p:cNvSpPr/>
            <p:nvPr/>
          </p:nvSpPr>
          <p:spPr>
            <a:xfrm>
              <a:off x="2507533" y="4283541"/>
              <a:ext cx="597185" cy="222624"/>
            </a:xfrm>
            <a:custGeom>
              <a:avLst/>
              <a:gdLst>
                <a:gd name="connsiteX0" fmla="*/ 0 w 597185"/>
                <a:gd name="connsiteY0" fmla="*/ 10913 h 222624"/>
                <a:gd name="connsiteX1" fmla="*/ 10913 w 597185"/>
                <a:gd name="connsiteY1" fmla="*/ 0 h 222624"/>
                <a:gd name="connsiteX2" fmla="*/ 586272 w 597185"/>
                <a:gd name="connsiteY2" fmla="*/ 0 h 222624"/>
                <a:gd name="connsiteX3" fmla="*/ 597185 w 597185"/>
                <a:gd name="connsiteY3" fmla="*/ 10913 h 222624"/>
                <a:gd name="connsiteX4" fmla="*/ 597185 w 597185"/>
                <a:gd name="connsiteY4" fmla="*/ 211711 h 222624"/>
                <a:gd name="connsiteX5" fmla="*/ 586272 w 597185"/>
                <a:gd name="connsiteY5" fmla="*/ 222624 h 222624"/>
                <a:gd name="connsiteX6" fmla="*/ 10913 w 597185"/>
                <a:gd name="connsiteY6" fmla="*/ 222624 h 222624"/>
                <a:gd name="connsiteX7" fmla="*/ 0 w 597185"/>
                <a:gd name="connsiteY7" fmla="*/ 211711 h 222624"/>
                <a:gd name="connsiteX8" fmla="*/ 0 w 597185"/>
                <a:gd name="connsiteY8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185" h="222624" fill="none" extrusionOk="0">
                  <a:moveTo>
                    <a:pt x="0" y="10913"/>
                  </a:moveTo>
                  <a:cubicBezTo>
                    <a:pt x="-782" y="4715"/>
                    <a:pt x="4962" y="-736"/>
                    <a:pt x="10913" y="0"/>
                  </a:cubicBezTo>
                  <a:cubicBezTo>
                    <a:pt x="274964" y="-29955"/>
                    <a:pt x="439491" y="3100"/>
                    <a:pt x="586272" y="0"/>
                  </a:cubicBezTo>
                  <a:cubicBezTo>
                    <a:pt x="592670" y="793"/>
                    <a:pt x="597335" y="5280"/>
                    <a:pt x="597185" y="10913"/>
                  </a:cubicBezTo>
                  <a:cubicBezTo>
                    <a:pt x="619629" y="95343"/>
                    <a:pt x="578451" y="168442"/>
                    <a:pt x="597185" y="211711"/>
                  </a:cubicBezTo>
                  <a:cubicBezTo>
                    <a:pt x="596187" y="218004"/>
                    <a:pt x="592337" y="222204"/>
                    <a:pt x="586272" y="222624"/>
                  </a:cubicBezTo>
                  <a:cubicBezTo>
                    <a:pt x="332136" y="272442"/>
                    <a:pt x="188689" y="154670"/>
                    <a:pt x="10913" y="222624"/>
                  </a:cubicBezTo>
                  <a:cubicBezTo>
                    <a:pt x="4487" y="223601"/>
                    <a:pt x="848" y="219166"/>
                    <a:pt x="0" y="211711"/>
                  </a:cubicBezTo>
                  <a:cubicBezTo>
                    <a:pt x="-8912" y="113153"/>
                    <a:pt x="2809" y="79521"/>
                    <a:pt x="0" y="10913"/>
                  </a:cubicBezTo>
                  <a:close/>
                </a:path>
                <a:path w="597185" h="222624" stroke="0" extrusionOk="0">
                  <a:moveTo>
                    <a:pt x="0" y="10913"/>
                  </a:moveTo>
                  <a:cubicBezTo>
                    <a:pt x="271" y="4373"/>
                    <a:pt x="4559" y="632"/>
                    <a:pt x="10913" y="0"/>
                  </a:cubicBezTo>
                  <a:cubicBezTo>
                    <a:pt x="167999" y="-27926"/>
                    <a:pt x="452014" y="6480"/>
                    <a:pt x="586272" y="0"/>
                  </a:cubicBezTo>
                  <a:cubicBezTo>
                    <a:pt x="590640" y="-74"/>
                    <a:pt x="597416" y="3504"/>
                    <a:pt x="597185" y="10913"/>
                  </a:cubicBezTo>
                  <a:cubicBezTo>
                    <a:pt x="605554" y="81701"/>
                    <a:pt x="588214" y="151708"/>
                    <a:pt x="597185" y="211711"/>
                  </a:cubicBezTo>
                  <a:cubicBezTo>
                    <a:pt x="597537" y="218653"/>
                    <a:pt x="592069" y="221112"/>
                    <a:pt x="586272" y="222624"/>
                  </a:cubicBezTo>
                  <a:cubicBezTo>
                    <a:pt x="371974" y="283755"/>
                    <a:pt x="221817" y="215671"/>
                    <a:pt x="10913" y="222624"/>
                  </a:cubicBezTo>
                  <a:cubicBezTo>
                    <a:pt x="4871" y="220980"/>
                    <a:pt x="-23" y="217154"/>
                    <a:pt x="0" y="211711"/>
                  </a:cubicBezTo>
                  <a:cubicBezTo>
                    <a:pt x="-12827" y="161156"/>
                    <a:pt x="6572" y="69927"/>
                    <a:pt x="0" y="10913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Submit Text">
              <a:extLst>
                <a:ext uri="{FF2B5EF4-FFF2-40B4-BE49-F238E27FC236}">
                  <a16:creationId xmlns:a16="http://schemas.microsoft.com/office/drawing/2014/main" id="{D3CA58C0-0F18-4D06-85B0-C4FBECB3644E}"/>
                </a:ext>
              </a:extLst>
            </p:cNvPr>
            <p:cNvSpPr txBox="1"/>
            <p:nvPr/>
          </p:nvSpPr>
          <p:spPr>
            <a:xfrm>
              <a:off x="2577368" y="4335179"/>
              <a:ext cx="452757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spAutoFit/>
            </a:bodyPr>
            <a:lstStyle/>
            <a:p>
              <a:pPr algn="ctr"/>
              <a:r>
                <a:rPr lang="en-US" sz="750" dirty="0">
                  <a:solidFill>
                    <a:schemeClr val="bg1"/>
                  </a:solidFill>
                </a:rPr>
                <a:t>Submit</a:t>
              </a:r>
            </a:p>
          </p:txBody>
        </p:sp>
        <p:sp>
          <p:nvSpPr>
            <p:cNvPr id="255" name="Text Placeholder">
              <a:extLst>
                <a:ext uri="{FF2B5EF4-FFF2-40B4-BE49-F238E27FC236}">
                  <a16:creationId xmlns:a16="http://schemas.microsoft.com/office/drawing/2014/main" id="{61DE72F5-7BB9-43AF-9A46-26A3C55DA69F}"/>
                </a:ext>
              </a:extLst>
            </p:cNvPr>
            <p:cNvSpPr txBox="1"/>
            <p:nvPr/>
          </p:nvSpPr>
          <p:spPr>
            <a:xfrm>
              <a:off x="314422" y="4291757"/>
              <a:ext cx="1982698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74" name="Input Text Box">
            <a:extLst>
              <a:ext uri="{FF2B5EF4-FFF2-40B4-BE49-F238E27FC236}">
                <a16:creationId xmlns:a16="http://schemas.microsoft.com/office/drawing/2014/main" id="{D275897E-D0A7-41DF-B215-1B346E8BFD4A}"/>
              </a:ext>
            </a:extLst>
          </p:cNvPr>
          <p:cNvGrpSpPr/>
          <p:nvPr/>
        </p:nvGrpSpPr>
        <p:grpSpPr>
          <a:xfrm>
            <a:off x="499930" y="4214944"/>
            <a:ext cx="2862072" cy="548640"/>
            <a:chOff x="680598" y="5324842"/>
            <a:chExt cx="2287067" cy="673924"/>
          </a:xfrm>
        </p:grpSpPr>
        <p:sp>
          <p:nvSpPr>
            <p:cNvPr id="237" name="Text Box Background">
              <a:extLst>
                <a:ext uri="{FF2B5EF4-FFF2-40B4-BE49-F238E27FC236}">
                  <a16:creationId xmlns:a16="http://schemas.microsoft.com/office/drawing/2014/main" id="{C348A343-0DE0-4AF0-8A93-500CD23D1A87}"/>
                </a:ext>
              </a:extLst>
            </p:cNvPr>
            <p:cNvSpPr/>
            <p:nvPr/>
          </p:nvSpPr>
          <p:spPr>
            <a:xfrm flipH="1">
              <a:off x="680598" y="5324842"/>
              <a:ext cx="2287067" cy="673924"/>
            </a:xfrm>
            <a:custGeom>
              <a:avLst/>
              <a:gdLst>
                <a:gd name="connsiteX0" fmla="*/ 0 w 2287067"/>
                <a:gd name="connsiteY0" fmla="*/ 14692 h 673924"/>
                <a:gd name="connsiteX1" fmla="*/ 14692 w 2287067"/>
                <a:gd name="connsiteY1" fmla="*/ 0 h 673924"/>
                <a:gd name="connsiteX2" fmla="*/ 601690 w 2287067"/>
                <a:gd name="connsiteY2" fmla="*/ 0 h 673924"/>
                <a:gd name="connsiteX3" fmla="*/ 1120957 w 2287067"/>
                <a:gd name="connsiteY3" fmla="*/ 0 h 673924"/>
                <a:gd name="connsiteX4" fmla="*/ 1730531 w 2287067"/>
                <a:gd name="connsiteY4" fmla="*/ 0 h 673924"/>
                <a:gd name="connsiteX5" fmla="*/ 2272375 w 2287067"/>
                <a:gd name="connsiteY5" fmla="*/ 0 h 673924"/>
                <a:gd name="connsiteX6" fmla="*/ 2287067 w 2287067"/>
                <a:gd name="connsiteY6" fmla="*/ 14692 h 673924"/>
                <a:gd name="connsiteX7" fmla="*/ 2287067 w 2287067"/>
                <a:gd name="connsiteY7" fmla="*/ 659232 h 673924"/>
                <a:gd name="connsiteX8" fmla="*/ 2272375 w 2287067"/>
                <a:gd name="connsiteY8" fmla="*/ 673924 h 673924"/>
                <a:gd name="connsiteX9" fmla="*/ 1662801 w 2287067"/>
                <a:gd name="connsiteY9" fmla="*/ 673924 h 673924"/>
                <a:gd name="connsiteX10" fmla="*/ 1075803 w 2287067"/>
                <a:gd name="connsiteY10" fmla="*/ 673924 h 673924"/>
                <a:gd name="connsiteX11" fmla="*/ 556536 w 2287067"/>
                <a:gd name="connsiteY11" fmla="*/ 673924 h 673924"/>
                <a:gd name="connsiteX12" fmla="*/ 14692 w 2287067"/>
                <a:gd name="connsiteY12" fmla="*/ 673924 h 673924"/>
                <a:gd name="connsiteX13" fmla="*/ 0 w 2287067"/>
                <a:gd name="connsiteY13" fmla="*/ 659232 h 673924"/>
                <a:gd name="connsiteX14" fmla="*/ 0 w 2287067"/>
                <a:gd name="connsiteY14" fmla="*/ 14692 h 673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7067" h="673924" fill="none" extrusionOk="0">
                  <a:moveTo>
                    <a:pt x="0" y="14692"/>
                  </a:moveTo>
                  <a:cubicBezTo>
                    <a:pt x="-329" y="5907"/>
                    <a:pt x="6612" y="-456"/>
                    <a:pt x="14692" y="0"/>
                  </a:cubicBezTo>
                  <a:cubicBezTo>
                    <a:pt x="201282" y="19936"/>
                    <a:pt x="391251" y="2522"/>
                    <a:pt x="601690" y="0"/>
                  </a:cubicBezTo>
                  <a:cubicBezTo>
                    <a:pt x="812129" y="-2522"/>
                    <a:pt x="970271" y="-23013"/>
                    <a:pt x="1120957" y="0"/>
                  </a:cubicBezTo>
                  <a:cubicBezTo>
                    <a:pt x="1271643" y="23013"/>
                    <a:pt x="1560932" y="-22798"/>
                    <a:pt x="1730531" y="0"/>
                  </a:cubicBezTo>
                  <a:cubicBezTo>
                    <a:pt x="1900130" y="22798"/>
                    <a:pt x="2039289" y="-13670"/>
                    <a:pt x="2272375" y="0"/>
                  </a:cubicBezTo>
                  <a:cubicBezTo>
                    <a:pt x="2281168" y="1344"/>
                    <a:pt x="2285621" y="7341"/>
                    <a:pt x="2287067" y="14692"/>
                  </a:cubicBezTo>
                  <a:cubicBezTo>
                    <a:pt x="2313246" y="292895"/>
                    <a:pt x="2311012" y="346458"/>
                    <a:pt x="2287067" y="659232"/>
                  </a:cubicBezTo>
                  <a:cubicBezTo>
                    <a:pt x="2287469" y="666111"/>
                    <a:pt x="2281333" y="674837"/>
                    <a:pt x="2272375" y="673924"/>
                  </a:cubicBezTo>
                  <a:cubicBezTo>
                    <a:pt x="2007649" y="693953"/>
                    <a:pt x="1909373" y="704160"/>
                    <a:pt x="1662801" y="673924"/>
                  </a:cubicBezTo>
                  <a:cubicBezTo>
                    <a:pt x="1416229" y="643688"/>
                    <a:pt x="1308536" y="664745"/>
                    <a:pt x="1075803" y="673924"/>
                  </a:cubicBezTo>
                  <a:cubicBezTo>
                    <a:pt x="843070" y="683103"/>
                    <a:pt x="794165" y="649928"/>
                    <a:pt x="556536" y="673924"/>
                  </a:cubicBezTo>
                  <a:cubicBezTo>
                    <a:pt x="318907" y="697920"/>
                    <a:pt x="138404" y="647919"/>
                    <a:pt x="14692" y="673924"/>
                  </a:cubicBezTo>
                  <a:cubicBezTo>
                    <a:pt x="5451" y="675064"/>
                    <a:pt x="-848" y="669162"/>
                    <a:pt x="0" y="659232"/>
                  </a:cubicBezTo>
                  <a:cubicBezTo>
                    <a:pt x="5176" y="414377"/>
                    <a:pt x="-9277" y="320235"/>
                    <a:pt x="0" y="14692"/>
                  </a:cubicBezTo>
                  <a:close/>
                </a:path>
                <a:path w="2287067" h="673924" stroke="0" extrusionOk="0">
                  <a:moveTo>
                    <a:pt x="0" y="14692"/>
                  </a:moveTo>
                  <a:cubicBezTo>
                    <a:pt x="-516" y="6260"/>
                    <a:pt x="5784" y="298"/>
                    <a:pt x="14692" y="0"/>
                  </a:cubicBezTo>
                  <a:cubicBezTo>
                    <a:pt x="229905" y="20948"/>
                    <a:pt x="346507" y="-21530"/>
                    <a:pt x="624266" y="0"/>
                  </a:cubicBezTo>
                  <a:cubicBezTo>
                    <a:pt x="902025" y="21530"/>
                    <a:pt x="911142" y="-26757"/>
                    <a:pt x="1166110" y="0"/>
                  </a:cubicBezTo>
                  <a:cubicBezTo>
                    <a:pt x="1421078" y="26757"/>
                    <a:pt x="1522442" y="881"/>
                    <a:pt x="1685377" y="0"/>
                  </a:cubicBezTo>
                  <a:cubicBezTo>
                    <a:pt x="1848312" y="-881"/>
                    <a:pt x="2060949" y="20153"/>
                    <a:pt x="2272375" y="0"/>
                  </a:cubicBezTo>
                  <a:cubicBezTo>
                    <a:pt x="2281031" y="-1115"/>
                    <a:pt x="2285257" y="6301"/>
                    <a:pt x="2287067" y="14692"/>
                  </a:cubicBezTo>
                  <a:cubicBezTo>
                    <a:pt x="2308375" y="153091"/>
                    <a:pt x="2299967" y="489497"/>
                    <a:pt x="2287067" y="659232"/>
                  </a:cubicBezTo>
                  <a:cubicBezTo>
                    <a:pt x="2286499" y="668285"/>
                    <a:pt x="2280348" y="673760"/>
                    <a:pt x="2272375" y="673924"/>
                  </a:cubicBezTo>
                  <a:cubicBezTo>
                    <a:pt x="2135307" y="678593"/>
                    <a:pt x="1964404" y="676976"/>
                    <a:pt x="1753108" y="673924"/>
                  </a:cubicBezTo>
                  <a:cubicBezTo>
                    <a:pt x="1541812" y="670872"/>
                    <a:pt x="1311198" y="663771"/>
                    <a:pt x="1188687" y="673924"/>
                  </a:cubicBezTo>
                  <a:cubicBezTo>
                    <a:pt x="1066176" y="684077"/>
                    <a:pt x="759632" y="681219"/>
                    <a:pt x="646843" y="673924"/>
                  </a:cubicBezTo>
                  <a:cubicBezTo>
                    <a:pt x="534054" y="666629"/>
                    <a:pt x="261300" y="665605"/>
                    <a:pt x="14692" y="673924"/>
                  </a:cubicBezTo>
                  <a:cubicBezTo>
                    <a:pt x="6858" y="673576"/>
                    <a:pt x="-522" y="667144"/>
                    <a:pt x="0" y="659232"/>
                  </a:cubicBezTo>
                  <a:cubicBezTo>
                    <a:pt x="24026" y="388074"/>
                    <a:pt x="2902" y="171882"/>
                    <a:pt x="0" y="1469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218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1" name="Scroll Bar">
              <a:extLst>
                <a:ext uri="{FF2B5EF4-FFF2-40B4-BE49-F238E27FC236}">
                  <a16:creationId xmlns:a16="http://schemas.microsoft.com/office/drawing/2014/main" id="{993FBB15-CB51-4591-B001-B3C3A4B31F10}"/>
                </a:ext>
              </a:extLst>
            </p:cNvPr>
            <p:cNvSpPr/>
            <p:nvPr/>
          </p:nvSpPr>
          <p:spPr>
            <a:xfrm>
              <a:off x="2919053" y="5352609"/>
              <a:ext cx="29228" cy="351194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Text Placeholder">
              <a:extLst>
                <a:ext uri="{FF2B5EF4-FFF2-40B4-BE49-F238E27FC236}">
                  <a16:creationId xmlns:a16="http://schemas.microsoft.com/office/drawing/2014/main" id="{454FC701-1224-4451-BC3E-6C893AAC0DEC}"/>
                </a:ext>
              </a:extLst>
            </p:cNvPr>
            <p:cNvSpPr txBox="1"/>
            <p:nvPr/>
          </p:nvSpPr>
          <p:spPr>
            <a:xfrm>
              <a:off x="702468" y="5330616"/>
              <a:ext cx="2191711" cy="25518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83" name="Search Box 3">
            <a:extLst>
              <a:ext uri="{FF2B5EF4-FFF2-40B4-BE49-F238E27FC236}">
                <a16:creationId xmlns:a16="http://schemas.microsoft.com/office/drawing/2014/main" id="{6B06928E-1116-4ACB-9BC7-E0A4B624D245}"/>
              </a:ext>
            </a:extLst>
          </p:cNvPr>
          <p:cNvGrpSpPr/>
          <p:nvPr/>
        </p:nvGrpSpPr>
        <p:grpSpPr>
          <a:xfrm>
            <a:off x="491246" y="3860136"/>
            <a:ext cx="877825" cy="207749"/>
            <a:chOff x="1954389" y="4925136"/>
            <a:chExt cx="1098374" cy="252898"/>
          </a:xfrm>
        </p:grpSpPr>
        <p:sp>
          <p:nvSpPr>
            <p:cNvPr id="213" name="Search Box">
              <a:extLst>
                <a:ext uri="{FF2B5EF4-FFF2-40B4-BE49-F238E27FC236}">
                  <a16:creationId xmlns:a16="http://schemas.microsoft.com/office/drawing/2014/main" id="{A0BD0F39-D1A1-4FA9-92C9-C72CCAFC0BC2}"/>
                </a:ext>
              </a:extLst>
            </p:cNvPr>
            <p:cNvSpPr/>
            <p:nvPr/>
          </p:nvSpPr>
          <p:spPr>
            <a:xfrm>
              <a:off x="1963068" y="4940350"/>
              <a:ext cx="1089695" cy="222624"/>
            </a:xfrm>
            <a:custGeom>
              <a:avLst/>
              <a:gdLst>
                <a:gd name="connsiteX0" fmla="*/ 0 w 1089695"/>
                <a:gd name="connsiteY0" fmla="*/ 10913 h 222624"/>
                <a:gd name="connsiteX1" fmla="*/ 10913 w 1089695"/>
                <a:gd name="connsiteY1" fmla="*/ 0 h 222624"/>
                <a:gd name="connsiteX2" fmla="*/ 523490 w 1089695"/>
                <a:gd name="connsiteY2" fmla="*/ 0 h 222624"/>
                <a:gd name="connsiteX3" fmla="*/ 1078782 w 1089695"/>
                <a:gd name="connsiteY3" fmla="*/ 0 h 222624"/>
                <a:gd name="connsiteX4" fmla="*/ 1089695 w 1089695"/>
                <a:gd name="connsiteY4" fmla="*/ 10913 h 222624"/>
                <a:gd name="connsiteX5" fmla="*/ 1089695 w 1089695"/>
                <a:gd name="connsiteY5" fmla="*/ 211711 h 222624"/>
                <a:gd name="connsiteX6" fmla="*/ 1078782 w 1089695"/>
                <a:gd name="connsiteY6" fmla="*/ 222624 h 222624"/>
                <a:gd name="connsiteX7" fmla="*/ 523490 w 1089695"/>
                <a:gd name="connsiteY7" fmla="*/ 222624 h 222624"/>
                <a:gd name="connsiteX8" fmla="*/ 10913 w 1089695"/>
                <a:gd name="connsiteY8" fmla="*/ 222624 h 222624"/>
                <a:gd name="connsiteX9" fmla="*/ 0 w 1089695"/>
                <a:gd name="connsiteY9" fmla="*/ 211711 h 222624"/>
                <a:gd name="connsiteX10" fmla="*/ 0 w 1089695"/>
                <a:gd name="connsiteY10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9695" h="222624" fill="none" extrusionOk="0">
                  <a:moveTo>
                    <a:pt x="0" y="10913"/>
                  </a:moveTo>
                  <a:cubicBezTo>
                    <a:pt x="56" y="4059"/>
                    <a:pt x="4461" y="748"/>
                    <a:pt x="10913" y="0"/>
                  </a:cubicBezTo>
                  <a:cubicBezTo>
                    <a:pt x="117461" y="11850"/>
                    <a:pt x="288897" y="-5440"/>
                    <a:pt x="523490" y="0"/>
                  </a:cubicBezTo>
                  <a:cubicBezTo>
                    <a:pt x="758083" y="5440"/>
                    <a:pt x="841091" y="-14451"/>
                    <a:pt x="1078782" y="0"/>
                  </a:cubicBezTo>
                  <a:cubicBezTo>
                    <a:pt x="1084568" y="64"/>
                    <a:pt x="1089757" y="4197"/>
                    <a:pt x="1089695" y="10913"/>
                  </a:cubicBezTo>
                  <a:cubicBezTo>
                    <a:pt x="1096850" y="56299"/>
                    <a:pt x="1087172" y="114524"/>
                    <a:pt x="1089695" y="211711"/>
                  </a:cubicBezTo>
                  <a:cubicBezTo>
                    <a:pt x="1089488" y="218244"/>
                    <a:pt x="1085029" y="222994"/>
                    <a:pt x="1078782" y="222624"/>
                  </a:cubicBezTo>
                  <a:cubicBezTo>
                    <a:pt x="851585" y="232671"/>
                    <a:pt x="714792" y="215597"/>
                    <a:pt x="523490" y="222624"/>
                  </a:cubicBezTo>
                  <a:cubicBezTo>
                    <a:pt x="332188" y="229651"/>
                    <a:pt x="239642" y="233911"/>
                    <a:pt x="10913" y="222624"/>
                  </a:cubicBezTo>
                  <a:cubicBezTo>
                    <a:pt x="4899" y="223913"/>
                    <a:pt x="740" y="217518"/>
                    <a:pt x="0" y="211711"/>
                  </a:cubicBezTo>
                  <a:cubicBezTo>
                    <a:pt x="4463" y="165093"/>
                    <a:pt x="-592" y="58313"/>
                    <a:pt x="0" y="10913"/>
                  </a:cubicBezTo>
                  <a:close/>
                </a:path>
                <a:path w="1089695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178387" y="20127"/>
                    <a:pt x="433382" y="25725"/>
                    <a:pt x="555526" y="0"/>
                  </a:cubicBezTo>
                  <a:cubicBezTo>
                    <a:pt x="677670" y="-25725"/>
                    <a:pt x="819466" y="887"/>
                    <a:pt x="1078782" y="0"/>
                  </a:cubicBezTo>
                  <a:cubicBezTo>
                    <a:pt x="1086139" y="-372"/>
                    <a:pt x="1090252" y="5319"/>
                    <a:pt x="1089695" y="10913"/>
                  </a:cubicBezTo>
                  <a:cubicBezTo>
                    <a:pt x="1086386" y="103987"/>
                    <a:pt x="1079894" y="132243"/>
                    <a:pt x="1089695" y="211711"/>
                  </a:cubicBezTo>
                  <a:cubicBezTo>
                    <a:pt x="1089324" y="217687"/>
                    <a:pt x="1084175" y="223006"/>
                    <a:pt x="1078782" y="222624"/>
                  </a:cubicBezTo>
                  <a:cubicBezTo>
                    <a:pt x="807680" y="217494"/>
                    <a:pt x="766004" y="244060"/>
                    <a:pt x="523490" y="222624"/>
                  </a:cubicBezTo>
                  <a:cubicBezTo>
                    <a:pt x="280976" y="201188"/>
                    <a:pt x="191881" y="232414"/>
                    <a:pt x="10913" y="222624"/>
                  </a:cubicBezTo>
                  <a:cubicBezTo>
                    <a:pt x="4592" y="223803"/>
                    <a:pt x="-350" y="217703"/>
                    <a:pt x="0" y="211711"/>
                  </a:cubicBezTo>
                  <a:cubicBezTo>
                    <a:pt x="-1041" y="156857"/>
                    <a:pt x="1307" y="70667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4" name="Search Icon" descr="Magnifying glass">
              <a:extLst>
                <a:ext uri="{FF2B5EF4-FFF2-40B4-BE49-F238E27FC236}">
                  <a16:creationId xmlns:a16="http://schemas.microsoft.com/office/drawing/2014/main" id="{4BD9E6A6-BC71-4374-A3CE-17C6DFAA69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60456" y="4983082"/>
              <a:ext cx="137160" cy="137160"/>
            </a:xfrm>
            <a:prstGeom prst="rect">
              <a:avLst/>
            </a:prstGeom>
          </p:spPr>
        </p:pic>
        <p:sp>
          <p:nvSpPr>
            <p:cNvPr id="215" name="Search Text">
              <a:extLst>
                <a:ext uri="{FF2B5EF4-FFF2-40B4-BE49-F238E27FC236}">
                  <a16:creationId xmlns:a16="http://schemas.microsoft.com/office/drawing/2014/main" id="{6976EA02-8173-416A-9AEC-6EB1284BAE76}"/>
                </a:ext>
              </a:extLst>
            </p:cNvPr>
            <p:cNvSpPr txBox="1"/>
            <p:nvPr/>
          </p:nvSpPr>
          <p:spPr>
            <a:xfrm>
              <a:off x="1954389" y="4925136"/>
              <a:ext cx="764655" cy="2528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arch…</a:t>
              </a:r>
            </a:p>
          </p:txBody>
        </p:sp>
      </p:grpSp>
      <p:grpSp>
        <p:nvGrpSpPr>
          <p:cNvPr id="175" name="Toggle Off">
            <a:extLst>
              <a:ext uri="{FF2B5EF4-FFF2-40B4-BE49-F238E27FC236}">
                <a16:creationId xmlns:a16="http://schemas.microsoft.com/office/drawing/2014/main" id="{6C232267-0934-48A6-96EE-B82E830AD148}"/>
              </a:ext>
            </a:extLst>
          </p:cNvPr>
          <p:cNvGrpSpPr/>
          <p:nvPr/>
        </p:nvGrpSpPr>
        <p:grpSpPr>
          <a:xfrm>
            <a:off x="946912" y="3523803"/>
            <a:ext cx="365760" cy="196631"/>
            <a:chOff x="2514928" y="4179094"/>
            <a:chExt cx="452737" cy="224722"/>
          </a:xfrm>
        </p:grpSpPr>
        <p:sp>
          <p:nvSpPr>
            <p:cNvPr id="231" name="Toggle Off Background">
              <a:extLst>
                <a:ext uri="{FF2B5EF4-FFF2-40B4-BE49-F238E27FC236}">
                  <a16:creationId xmlns:a16="http://schemas.microsoft.com/office/drawing/2014/main" id="{8F2940B6-0E59-4CDA-A825-61EC6E798BDD}"/>
                </a:ext>
              </a:extLst>
            </p:cNvPr>
            <p:cNvSpPr/>
            <p:nvPr/>
          </p:nvSpPr>
          <p:spPr>
            <a:xfrm>
              <a:off x="2514928" y="4179094"/>
              <a:ext cx="452737" cy="219456"/>
            </a:xfrm>
            <a:custGeom>
              <a:avLst/>
              <a:gdLst>
                <a:gd name="connsiteX0" fmla="*/ 0 w 452737"/>
                <a:gd name="connsiteY0" fmla="*/ 109728 h 219456"/>
                <a:gd name="connsiteX1" fmla="*/ 109728 w 452737"/>
                <a:gd name="connsiteY1" fmla="*/ 0 h 219456"/>
                <a:gd name="connsiteX2" fmla="*/ 343009 w 452737"/>
                <a:gd name="connsiteY2" fmla="*/ 0 h 219456"/>
                <a:gd name="connsiteX3" fmla="*/ 452737 w 452737"/>
                <a:gd name="connsiteY3" fmla="*/ 109728 h 219456"/>
                <a:gd name="connsiteX4" fmla="*/ 452737 w 452737"/>
                <a:gd name="connsiteY4" fmla="*/ 109728 h 219456"/>
                <a:gd name="connsiteX5" fmla="*/ 343009 w 452737"/>
                <a:gd name="connsiteY5" fmla="*/ 219456 h 219456"/>
                <a:gd name="connsiteX6" fmla="*/ 109728 w 452737"/>
                <a:gd name="connsiteY6" fmla="*/ 219456 h 219456"/>
                <a:gd name="connsiteX7" fmla="*/ 0 w 452737"/>
                <a:gd name="connsiteY7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737" h="219456" fill="none" extrusionOk="0">
                  <a:moveTo>
                    <a:pt x="0" y="109728"/>
                  </a:moveTo>
                  <a:cubicBezTo>
                    <a:pt x="-3167" y="60399"/>
                    <a:pt x="48283" y="1926"/>
                    <a:pt x="109728" y="0"/>
                  </a:cubicBezTo>
                  <a:cubicBezTo>
                    <a:pt x="180041" y="6664"/>
                    <a:pt x="268479" y="-1522"/>
                    <a:pt x="343009" y="0"/>
                  </a:cubicBezTo>
                  <a:cubicBezTo>
                    <a:pt x="401744" y="1507"/>
                    <a:pt x="451145" y="49374"/>
                    <a:pt x="452737" y="109728"/>
                  </a:cubicBezTo>
                  <a:lnTo>
                    <a:pt x="452737" y="109728"/>
                  </a:lnTo>
                  <a:cubicBezTo>
                    <a:pt x="458185" y="170082"/>
                    <a:pt x="401759" y="218861"/>
                    <a:pt x="343009" y="219456"/>
                  </a:cubicBezTo>
                  <a:cubicBezTo>
                    <a:pt x="291934" y="220931"/>
                    <a:pt x="168965" y="214273"/>
                    <a:pt x="109728" y="219456"/>
                  </a:cubicBezTo>
                  <a:cubicBezTo>
                    <a:pt x="38141" y="212738"/>
                    <a:pt x="537" y="172273"/>
                    <a:pt x="0" y="109728"/>
                  </a:cubicBezTo>
                  <a:close/>
                </a:path>
                <a:path w="452737" h="219456" stroke="0" extrusionOk="0">
                  <a:moveTo>
                    <a:pt x="0" y="109728"/>
                  </a:moveTo>
                  <a:cubicBezTo>
                    <a:pt x="-764" y="53579"/>
                    <a:pt x="54034" y="-2162"/>
                    <a:pt x="109728" y="0"/>
                  </a:cubicBezTo>
                  <a:cubicBezTo>
                    <a:pt x="197755" y="7894"/>
                    <a:pt x="254598" y="-4275"/>
                    <a:pt x="343009" y="0"/>
                  </a:cubicBezTo>
                  <a:cubicBezTo>
                    <a:pt x="398684" y="-11744"/>
                    <a:pt x="447065" y="38442"/>
                    <a:pt x="452737" y="109728"/>
                  </a:cubicBezTo>
                  <a:lnTo>
                    <a:pt x="452737" y="109728"/>
                  </a:lnTo>
                  <a:cubicBezTo>
                    <a:pt x="453762" y="175262"/>
                    <a:pt x="406648" y="221847"/>
                    <a:pt x="343009" y="219456"/>
                  </a:cubicBezTo>
                  <a:cubicBezTo>
                    <a:pt x="266331" y="210399"/>
                    <a:pt x="164324" y="230479"/>
                    <a:pt x="109728" y="219456"/>
                  </a:cubicBezTo>
                  <a:cubicBezTo>
                    <a:pt x="54231" y="209685"/>
                    <a:pt x="7418" y="177078"/>
                    <a:pt x="0" y="1097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5" name="Off Text">
              <a:extLst>
                <a:ext uri="{FF2B5EF4-FFF2-40B4-BE49-F238E27FC236}">
                  <a16:creationId xmlns:a16="http://schemas.microsoft.com/office/drawing/2014/main" id="{660B8EE2-58F7-459D-953E-67F15359A00C}"/>
                </a:ext>
              </a:extLst>
            </p:cNvPr>
            <p:cNvSpPr txBox="1"/>
            <p:nvPr/>
          </p:nvSpPr>
          <p:spPr>
            <a:xfrm>
              <a:off x="2722944" y="4183976"/>
              <a:ext cx="185774" cy="21984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r"/>
              <a:r>
                <a:rPr lang="en-US" sz="6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FF</a:t>
              </a:r>
            </a:p>
          </p:txBody>
        </p:sp>
        <p:sp>
          <p:nvSpPr>
            <p:cNvPr id="236" name="Filled Circle">
              <a:extLst>
                <a:ext uri="{FF2B5EF4-FFF2-40B4-BE49-F238E27FC236}">
                  <a16:creationId xmlns:a16="http://schemas.microsoft.com/office/drawing/2014/main" id="{B835FFF1-82FB-4F0C-92B8-8C4807157A55}"/>
                </a:ext>
              </a:extLst>
            </p:cNvPr>
            <p:cNvSpPr/>
            <p:nvPr/>
          </p:nvSpPr>
          <p:spPr>
            <a:xfrm>
              <a:off x="2546316" y="4207116"/>
              <a:ext cx="171428" cy="171428"/>
            </a:xfrm>
            <a:custGeom>
              <a:avLst/>
              <a:gdLst>
                <a:gd name="connsiteX0" fmla="*/ 0 w 171428"/>
                <a:gd name="connsiteY0" fmla="*/ 85714 h 171428"/>
                <a:gd name="connsiteX1" fmla="*/ 85714 w 171428"/>
                <a:gd name="connsiteY1" fmla="*/ 0 h 171428"/>
                <a:gd name="connsiteX2" fmla="*/ 171428 w 171428"/>
                <a:gd name="connsiteY2" fmla="*/ 85714 h 171428"/>
                <a:gd name="connsiteX3" fmla="*/ 85714 w 171428"/>
                <a:gd name="connsiteY3" fmla="*/ 171428 h 171428"/>
                <a:gd name="connsiteX4" fmla="*/ 0 w 171428"/>
                <a:gd name="connsiteY4" fmla="*/ 85714 h 17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8" h="171428" fill="none" extrusionOk="0">
                  <a:moveTo>
                    <a:pt x="0" y="85714"/>
                  </a:moveTo>
                  <a:cubicBezTo>
                    <a:pt x="-7833" y="35205"/>
                    <a:pt x="44181" y="-6848"/>
                    <a:pt x="85714" y="0"/>
                  </a:cubicBezTo>
                  <a:cubicBezTo>
                    <a:pt x="132057" y="-4303"/>
                    <a:pt x="170658" y="32560"/>
                    <a:pt x="171428" y="85714"/>
                  </a:cubicBezTo>
                  <a:cubicBezTo>
                    <a:pt x="175482" y="132919"/>
                    <a:pt x="122274" y="172281"/>
                    <a:pt x="85714" y="171428"/>
                  </a:cubicBezTo>
                  <a:cubicBezTo>
                    <a:pt x="37309" y="173938"/>
                    <a:pt x="-2760" y="137186"/>
                    <a:pt x="0" y="85714"/>
                  </a:cubicBezTo>
                  <a:close/>
                </a:path>
                <a:path w="171428" h="171428" stroke="0" extrusionOk="0">
                  <a:moveTo>
                    <a:pt x="0" y="85714"/>
                  </a:moveTo>
                  <a:cubicBezTo>
                    <a:pt x="-9295" y="31645"/>
                    <a:pt x="48397" y="49"/>
                    <a:pt x="85714" y="0"/>
                  </a:cubicBezTo>
                  <a:cubicBezTo>
                    <a:pt x="132584" y="-1606"/>
                    <a:pt x="168830" y="36298"/>
                    <a:pt x="171428" y="85714"/>
                  </a:cubicBezTo>
                  <a:cubicBezTo>
                    <a:pt x="173834" y="131751"/>
                    <a:pt x="141927" y="173700"/>
                    <a:pt x="85714" y="171428"/>
                  </a:cubicBezTo>
                  <a:cubicBezTo>
                    <a:pt x="47027" y="177067"/>
                    <a:pt x="-66" y="129021"/>
                    <a:pt x="0" y="857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6" name="Toggle On">
            <a:extLst>
              <a:ext uri="{FF2B5EF4-FFF2-40B4-BE49-F238E27FC236}">
                <a16:creationId xmlns:a16="http://schemas.microsoft.com/office/drawing/2014/main" id="{E2D0F111-F44E-4CDF-A1EC-FA5BB6869401}"/>
              </a:ext>
            </a:extLst>
          </p:cNvPr>
          <p:cNvGrpSpPr/>
          <p:nvPr/>
        </p:nvGrpSpPr>
        <p:grpSpPr>
          <a:xfrm>
            <a:off x="536340" y="3523803"/>
            <a:ext cx="365760" cy="192024"/>
            <a:chOff x="2008693" y="4179094"/>
            <a:chExt cx="452737" cy="219456"/>
          </a:xfrm>
        </p:grpSpPr>
        <p:sp>
          <p:nvSpPr>
            <p:cNvPr id="228" name="Toggle On Background">
              <a:extLst>
                <a:ext uri="{FF2B5EF4-FFF2-40B4-BE49-F238E27FC236}">
                  <a16:creationId xmlns:a16="http://schemas.microsoft.com/office/drawing/2014/main" id="{CEBD2B6B-5316-4DB7-B9F3-EE3F6DE72B82}"/>
                </a:ext>
              </a:extLst>
            </p:cNvPr>
            <p:cNvSpPr/>
            <p:nvPr/>
          </p:nvSpPr>
          <p:spPr>
            <a:xfrm>
              <a:off x="2008693" y="4179094"/>
              <a:ext cx="452737" cy="219456"/>
            </a:xfrm>
            <a:custGeom>
              <a:avLst/>
              <a:gdLst>
                <a:gd name="connsiteX0" fmla="*/ 0 w 452737"/>
                <a:gd name="connsiteY0" fmla="*/ 109728 h 219456"/>
                <a:gd name="connsiteX1" fmla="*/ 109728 w 452737"/>
                <a:gd name="connsiteY1" fmla="*/ 0 h 219456"/>
                <a:gd name="connsiteX2" fmla="*/ 343009 w 452737"/>
                <a:gd name="connsiteY2" fmla="*/ 0 h 219456"/>
                <a:gd name="connsiteX3" fmla="*/ 452737 w 452737"/>
                <a:gd name="connsiteY3" fmla="*/ 109728 h 219456"/>
                <a:gd name="connsiteX4" fmla="*/ 452737 w 452737"/>
                <a:gd name="connsiteY4" fmla="*/ 109728 h 219456"/>
                <a:gd name="connsiteX5" fmla="*/ 343009 w 452737"/>
                <a:gd name="connsiteY5" fmla="*/ 219456 h 219456"/>
                <a:gd name="connsiteX6" fmla="*/ 109728 w 452737"/>
                <a:gd name="connsiteY6" fmla="*/ 219456 h 219456"/>
                <a:gd name="connsiteX7" fmla="*/ 0 w 452737"/>
                <a:gd name="connsiteY7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737" h="219456" fill="none" extrusionOk="0">
                  <a:moveTo>
                    <a:pt x="0" y="109728"/>
                  </a:moveTo>
                  <a:cubicBezTo>
                    <a:pt x="-3167" y="60399"/>
                    <a:pt x="48283" y="1926"/>
                    <a:pt x="109728" y="0"/>
                  </a:cubicBezTo>
                  <a:cubicBezTo>
                    <a:pt x="180041" y="6664"/>
                    <a:pt x="268479" y="-1522"/>
                    <a:pt x="343009" y="0"/>
                  </a:cubicBezTo>
                  <a:cubicBezTo>
                    <a:pt x="401744" y="1507"/>
                    <a:pt x="451145" y="49374"/>
                    <a:pt x="452737" y="109728"/>
                  </a:cubicBezTo>
                  <a:lnTo>
                    <a:pt x="452737" y="109728"/>
                  </a:lnTo>
                  <a:cubicBezTo>
                    <a:pt x="458185" y="170082"/>
                    <a:pt x="401759" y="218861"/>
                    <a:pt x="343009" y="219456"/>
                  </a:cubicBezTo>
                  <a:cubicBezTo>
                    <a:pt x="291934" y="220931"/>
                    <a:pt x="168965" y="214273"/>
                    <a:pt x="109728" y="219456"/>
                  </a:cubicBezTo>
                  <a:cubicBezTo>
                    <a:pt x="38141" y="212738"/>
                    <a:pt x="537" y="172273"/>
                    <a:pt x="0" y="109728"/>
                  </a:cubicBezTo>
                  <a:close/>
                </a:path>
                <a:path w="452737" h="219456" stroke="0" extrusionOk="0">
                  <a:moveTo>
                    <a:pt x="0" y="109728"/>
                  </a:moveTo>
                  <a:cubicBezTo>
                    <a:pt x="-764" y="53579"/>
                    <a:pt x="54034" y="-2162"/>
                    <a:pt x="109728" y="0"/>
                  </a:cubicBezTo>
                  <a:cubicBezTo>
                    <a:pt x="197755" y="7894"/>
                    <a:pt x="254598" y="-4275"/>
                    <a:pt x="343009" y="0"/>
                  </a:cubicBezTo>
                  <a:cubicBezTo>
                    <a:pt x="398684" y="-11744"/>
                    <a:pt x="447065" y="38442"/>
                    <a:pt x="452737" y="109728"/>
                  </a:cubicBezTo>
                  <a:lnTo>
                    <a:pt x="452737" y="109728"/>
                  </a:lnTo>
                  <a:cubicBezTo>
                    <a:pt x="453762" y="175262"/>
                    <a:pt x="406648" y="221847"/>
                    <a:pt x="343009" y="219456"/>
                  </a:cubicBezTo>
                  <a:cubicBezTo>
                    <a:pt x="266331" y="210399"/>
                    <a:pt x="164324" y="230479"/>
                    <a:pt x="109728" y="219456"/>
                  </a:cubicBezTo>
                  <a:cubicBezTo>
                    <a:pt x="54231" y="209685"/>
                    <a:pt x="7418" y="177078"/>
                    <a:pt x="0" y="109728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On Text">
              <a:extLst>
                <a:ext uri="{FF2B5EF4-FFF2-40B4-BE49-F238E27FC236}">
                  <a16:creationId xmlns:a16="http://schemas.microsoft.com/office/drawing/2014/main" id="{5331BE28-FB00-4579-8EEC-128CB9AED662}"/>
                </a:ext>
              </a:extLst>
            </p:cNvPr>
            <p:cNvSpPr txBox="1"/>
            <p:nvPr/>
          </p:nvSpPr>
          <p:spPr>
            <a:xfrm>
              <a:off x="2084643" y="4183182"/>
              <a:ext cx="152739" cy="19236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N</a:t>
              </a:r>
            </a:p>
          </p:txBody>
        </p:sp>
        <p:sp>
          <p:nvSpPr>
            <p:cNvPr id="230" name="Circle">
              <a:extLst>
                <a:ext uri="{FF2B5EF4-FFF2-40B4-BE49-F238E27FC236}">
                  <a16:creationId xmlns:a16="http://schemas.microsoft.com/office/drawing/2014/main" id="{D6651A36-C08D-427F-90F1-CFAC4B5593AC}"/>
                </a:ext>
              </a:extLst>
            </p:cNvPr>
            <p:cNvSpPr/>
            <p:nvPr/>
          </p:nvSpPr>
          <p:spPr>
            <a:xfrm>
              <a:off x="2262266" y="4207116"/>
              <a:ext cx="171428" cy="171429"/>
            </a:xfrm>
            <a:custGeom>
              <a:avLst/>
              <a:gdLst>
                <a:gd name="connsiteX0" fmla="*/ 0 w 171428"/>
                <a:gd name="connsiteY0" fmla="*/ 85715 h 171429"/>
                <a:gd name="connsiteX1" fmla="*/ 85714 w 171428"/>
                <a:gd name="connsiteY1" fmla="*/ 0 h 171429"/>
                <a:gd name="connsiteX2" fmla="*/ 171428 w 171428"/>
                <a:gd name="connsiteY2" fmla="*/ 85715 h 171429"/>
                <a:gd name="connsiteX3" fmla="*/ 85714 w 171428"/>
                <a:gd name="connsiteY3" fmla="*/ 171430 h 171429"/>
                <a:gd name="connsiteX4" fmla="*/ 0 w 171428"/>
                <a:gd name="connsiteY4" fmla="*/ 85715 h 17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8" h="171429" fill="none" extrusionOk="0">
                  <a:moveTo>
                    <a:pt x="0" y="85715"/>
                  </a:moveTo>
                  <a:cubicBezTo>
                    <a:pt x="-7833" y="35206"/>
                    <a:pt x="44181" y="-6848"/>
                    <a:pt x="85714" y="0"/>
                  </a:cubicBezTo>
                  <a:cubicBezTo>
                    <a:pt x="132057" y="-4303"/>
                    <a:pt x="170658" y="32561"/>
                    <a:pt x="171428" y="85715"/>
                  </a:cubicBezTo>
                  <a:cubicBezTo>
                    <a:pt x="175482" y="132920"/>
                    <a:pt x="122274" y="172283"/>
                    <a:pt x="85714" y="171430"/>
                  </a:cubicBezTo>
                  <a:cubicBezTo>
                    <a:pt x="37309" y="173940"/>
                    <a:pt x="-2760" y="137187"/>
                    <a:pt x="0" y="85715"/>
                  </a:cubicBezTo>
                  <a:close/>
                </a:path>
                <a:path w="171428" h="171429" stroke="0" extrusionOk="0">
                  <a:moveTo>
                    <a:pt x="0" y="85715"/>
                  </a:moveTo>
                  <a:cubicBezTo>
                    <a:pt x="-9295" y="31646"/>
                    <a:pt x="48397" y="49"/>
                    <a:pt x="85714" y="0"/>
                  </a:cubicBezTo>
                  <a:cubicBezTo>
                    <a:pt x="132584" y="-1606"/>
                    <a:pt x="168830" y="36299"/>
                    <a:pt x="171428" y="85715"/>
                  </a:cubicBezTo>
                  <a:cubicBezTo>
                    <a:pt x="173834" y="131752"/>
                    <a:pt x="141927" y="173702"/>
                    <a:pt x="85714" y="171430"/>
                  </a:cubicBezTo>
                  <a:cubicBezTo>
                    <a:pt x="47027" y="177069"/>
                    <a:pt x="-66" y="129022"/>
                    <a:pt x="0" y="85715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0" name="Selected Button">
            <a:extLst>
              <a:ext uri="{FF2B5EF4-FFF2-40B4-BE49-F238E27FC236}">
                <a16:creationId xmlns:a16="http://schemas.microsoft.com/office/drawing/2014/main" id="{5F696A85-6068-4042-82A1-6E1B033026C1}"/>
              </a:ext>
            </a:extLst>
          </p:cNvPr>
          <p:cNvSpPr/>
          <p:nvPr/>
        </p:nvSpPr>
        <p:spPr>
          <a:xfrm>
            <a:off x="1530984" y="3837666"/>
            <a:ext cx="905256" cy="201168"/>
          </a:xfrm>
          <a:custGeom>
            <a:avLst/>
            <a:gdLst>
              <a:gd name="connsiteX0" fmla="*/ 0 w 905256"/>
              <a:gd name="connsiteY0" fmla="*/ 12639 h 201168"/>
              <a:gd name="connsiteX1" fmla="*/ 12639 w 905256"/>
              <a:gd name="connsiteY1" fmla="*/ 0 h 201168"/>
              <a:gd name="connsiteX2" fmla="*/ 452628 w 905256"/>
              <a:gd name="connsiteY2" fmla="*/ 0 h 201168"/>
              <a:gd name="connsiteX3" fmla="*/ 892617 w 905256"/>
              <a:gd name="connsiteY3" fmla="*/ 0 h 201168"/>
              <a:gd name="connsiteX4" fmla="*/ 905256 w 905256"/>
              <a:gd name="connsiteY4" fmla="*/ 12639 h 201168"/>
              <a:gd name="connsiteX5" fmla="*/ 905256 w 905256"/>
              <a:gd name="connsiteY5" fmla="*/ 188529 h 201168"/>
              <a:gd name="connsiteX6" fmla="*/ 892617 w 905256"/>
              <a:gd name="connsiteY6" fmla="*/ 201168 h 201168"/>
              <a:gd name="connsiteX7" fmla="*/ 443828 w 905256"/>
              <a:gd name="connsiteY7" fmla="*/ 201168 h 201168"/>
              <a:gd name="connsiteX8" fmla="*/ 12639 w 905256"/>
              <a:gd name="connsiteY8" fmla="*/ 201168 h 201168"/>
              <a:gd name="connsiteX9" fmla="*/ 0 w 905256"/>
              <a:gd name="connsiteY9" fmla="*/ 188529 h 201168"/>
              <a:gd name="connsiteX10" fmla="*/ 0 w 905256"/>
              <a:gd name="connsiteY10" fmla="*/ 12639 h 20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05256" h="201168" fill="none" extrusionOk="0">
                <a:moveTo>
                  <a:pt x="0" y="12639"/>
                </a:moveTo>
                <a:cubicBezTo>
                  <a:pt x="314" y="6043"/>
                  <a:pt x="5991" y="-291"/>
                  <a:pt x="12639" y="0"/>
                </a:cubicBezTo>
                <a:cubicBezTo>
                  <a:pt x="150859" y="9943"/>
                  <a:pt x="340735" y="-16433"/>
                  <a:pt x="452628" y="0"/>
                </a:cubicBezTo>
                <a:cubicBezTo>
                  <a:pt x="564521" y="16433"/>
                  <a:pt x="761339" y="-13818"/>
                  <a:pt x="892617" y="0"/>
                </a:cubicBezTo>
                <a:cubicBezTo>
                  <a:pt x="899189" y="-832"/>
                  <a:pt x="905339" y="4542"/>
                  <a:pt x="905256" y="12639"/>
                </a:cubicBezTo>
                <a:cubicBezTo>
                  <a:pt x="900107" y="99003"/>
                  <a:pt x="897724" y="120360"/>
                  <a:pt x="905256" y="188529"/>
                </a:cubicBezTo>
                <a:cubicBezTo>
                  <a:pt x="904387" y="195545"/>
                  <a:pt x="900058" y="200337"/>
                  <a:pt x="892617" y="201168"/>
                </a:cubicBezTo>
                <a:cubicBezTo>
                  <a:pt x="668478" y="180931"/>
                  <a:pt x="570688" y="191740"/>
                  <a:pt x="443828" y="201168"/>
                </a:cubicBezTo>
                <a:cubicBezTo>
                  <a:pt x="316968" y="210596"/>
                  <a:pt x="133592" y="205072"/>
                  <a:pt x="12639" y="201168"/>
                </a:cubicBezTo>
                <a:cubicBezTo>
                  <a:pt x="5607" y="199776"/>
                  <a:pt x="1219" y="195763"/>
                  <a:pt x="0" y="188529"/>
                </a:cubicBezTo>
                <a:cubicBezTo>
                  <a:pt x="3491" y="129151"/>
                  <a:pt x="446" y="74431"/>
                  <a:pt x="0" y="12639"/>
                </a:cubicBezTo>
                <a:close/>
              </a:path>
              <a:path w="905256" h="201168" stroke="0" extrusionOk="0">
                <a:moveTo>
                  <a:pt x="0" y="12639"/>
                </a:moveTo>
                <a:cubicBezTo>
                  <a:pt x="-425" y="5397"/>
                  <a:pt x="4390" y="476"/>
                  <a:pt x="12639" y="0"/>
                </a:cubicBezTo>
                <a:cubicBezTo>
                  <a:pt x="173502" y="5609"/>
                  <a:pt x="274851" y="-13809"/>
                  <a:pt x="470228" y="0"/>
                </a:cubicBezTo>
                <a:cubicBezTo>
                  <a:pt x="665605" y="13809"/>
                  <a:pt x="747943" y="14766"/>
                  <a:pt x="892617" y="0"/>
                </a:cubicBezTo>
                <a:cubicBezTo>
                  <a:pt x="899260" y="-184"/>
                  <a:pt x="906469" y="6238"/>
                  <a:pt x="905256" y="12639"/>
                </a:cubicBezTo>
                <a:cubicBezTo>
                  <a:pt x="904200" y="96476"/>
                  <a:pt x="905191" y="139903"/>
                  <a:pt x="905256" y="188529"/>
                </a:cubicBezTo>
                <a:cubicBezTo>
                  <a:pt x="905880" y="194494"/>
                  <a:pt x="899431" y="201314"/>
                  <a:pt x="892617" y="201168"/>
                </a:cubicBezTo>
                <a:cubicBezTo>
                  <a:pt x="739502" y="200734"/>
                  <a:pt x="624064" y="195321"/>
                  <a:pt x="452628" y="201168"/>
                </a:cubicBezTo>
                <a:cubicBezTo>
                  <a:pt x="281192" y="207015"/>
                  <a:pt x="192123" y="204916"/>
                  <a:pt x="12639" y="201168"/>
                </a:cubicBezTo>
                <a:cubicBezTo>
                  <a:pt x="4469" y="201100"/>
                  <a:pt x="445" y="194289"/>
                  <a:pt x="0" y="188529"/>
                </a:cubicBezTo>
                <a:cubicBezTo>
                  <a:pt x="-861" y="151221"/>
                  <a:pt x="-6994" y="69086"/>
                  <a:pt x="0" y="126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D9D9D9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tx1">
                    <a:lumMod val="65000"/>
                    <a:lumOff val="35000"/>
                  </a:schemeClr>
                </a:solidFill>
              </a:rPr>
              <a:t>Button</a:t>
            </a:r>
          </a:p>
        </p:txBody>
      </p:sp>
      <p:sp>
        <p:nvSpPr>
          <p:cNvPr id="171" name="Button">
            <a:extLst>
              <a:ext uri="{FF2B5EF4-FFF2-40B4-BE49-F238E27FC236}">
                <a16:creationId xmlns:a16="http://schemas.microsoft.com/office/drawing/2014/main" id="{9404F2DE-98F8-4BA7-A721-5ADA3D949EDC}"/>
              </a:ext>
            </a:extLst>
          </p:cNvPr>
          <p:cNvSpPr/>
          <p:nvPr/>
        </p:nvSpPr>
        <p:spPr>
          <a:xfrm>
            <a:off x="1529995" y="3537907"/>
            <a:ext cx="905256" cy="201168"/>
          </a:xfrm>
          <a:custGeom>
            <a:avLst/>
            <a:gdLst>
              <a:gd name="connsiteX0" fmla="*/ 0 w 905256"/>
              <a:gd name="connsiteY0" fmla="*/ 12639 h 201168"/>
              <a:gd name="connsiteX1" fmla="*/ 12639 w 905256"/>
              <a:gd name="connsiteY1" fmla="*/ 0 h 201168"/>
              <a:gd name="connsiteX2" fmla="*/ 452628 w 905256"/>
              <a:gd name="connsiteY2" fmla="*/ 0 h 201168"/>
              <a:gd name="connsiteX3" fmla="*/ 892617 w 905256"/>
              <a:gd name="connsiteY3" fmla="*/ 0 h 201168"/>
              <a:gd name="connsiteX4" fmla="*/ 905256 w 905256"/>
              <a:gd name="connsiteY4" fmla="*/ 12639 h 201168"/>
              <a:gd name="connsiteX5" fmla="*/ 905256 w 905256"/>
              <a:gd name="connsiteY5" fmla="*/ 188529 h 201168"/>
              <a:gd name="connsiteX6" fmla="*/ 892617 w 905256"/>
              <a:gd name="connsiteY6" fmla="*/ 201168 h 201168"/>
              <a:gd name="connsiteX7" fmla="*/ 479027 w 905256"/>
              <a:gd name="connsiteY7" fmla="*/ 201168 h 201168"/>
              <a:gd name="connsiteX8" fmla="*/ 12639 w 905256"/>
              <a:gd name="connsiteY8" fmla="*/ 201168 h 201168"/>
              <a:gd name="connsiteX9" fmla="*/ 0 w 905256"/>
              <a:gd name="connsiteY9" fmla="*/ 188529 h 201168"/>
              <a:gd name="connsiteX10" fmla="*/ 0 w 905256"/>
              <a:gd name="connsiteY10" fmla="*/ 12639 h 20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05256" h="201168" fill="none" extrusionOk="0">
                <a:moveTo>
                  <a:pt x="0" y="12639"/>
                </a:moveTo>
                <a:cubicBezTo>
                  <a:pt x="-985" y="5492"/>
                  <a:pt x="6661" y="-1087"/>
                  <a:pt x="12639" y="0"/>
                </a:cubicBezTo>
                <a:cubicBezTo>
                  <a:pt x="150790" y="-8466"/>
                  <a:pt x="315391" y="5295"/>
                  <a:pt x="452628" y="0"/>
                </a:cubicBezTo>
                <a:cubicBezTo>
                  <a:pt x="589865" y="-5295"/>
                  <a:pt x="693631" y="-5155"/>
                  <a:pt x="892617" y="0"/>
                </a:cubicBezTo>
                <a:cubicBezTo>
                  <a:pt x="900412" y="654"/>
                  <a:pt x="904629" y="5291"/>
                  <a:pt x="905256" y="12639"/>
                </a:cubicBezTo>
                <a:cubicBezTo>
                  <a:pt x="904843" y="73090"/>
                  <a:pt x="909761" y="102127"/>
                  <a:pt x="905256" y="188529"/>
                </a:cubicBezTo>
                <a:cubicBezTo>
                  <a:pt x="906033" y="195895"/>
                  <a:pt x="898792" y="200212"/>
                  <a:pt x="892617" y="201168"/>
                </a:cubicBezTo>
                <a:cubicBezTo>
                  <a:pt x="744037" y="195527"/>
                  <a:pt x="583170" y="212510"/>
                  <a:pt x="479027" y="201168"/>
                </a:cubicBezTo>
                <a:cubicBezTo>
                  <a:pt x="374884" y="189827"/>
                  <a:pt x="244546" y="186147"/>
                  <a:pt x="12639" y="201168"/>
                </a:cubicBezTo>
                <a:cubicBezTo>
                  <a:pt x="4865" y="199769"/>
                  <a:pt x="609" y="196870"/>
                  <a:pt x="0" y="188529"/>
                </a:cubicBezTo>
                <a:cubicBezTo>
                  <a:pt x="7797" y="149782"/>
                  <a:pt x="-4892" y="71727"/>
                  <a:pt x="0" y="12639"/>
                </a:cubicBezTo>
                <a:close/>
              </a:path>
              <a:path w="905256" h="201168" stroke="0" extrusionOk="0">
                <a:moveTo>
                  <a:pt x="0" y="12639"/>
                </a:moveTo>
                <a:cubicBezTo>
                  <a:pt x="282" y="5857"/>
                  <a:pt x="7156" y="664"/>
                  <a:pt x="12639" y="0"/>
                </a:cubicBezTo>
                <a:cubicBezTo>
                  <a:pt x="127964" y="10445"/>
                  <a:pt x="328552" y="2341"/>
                  <a:pt x="461428" y="0"/>
                </a:cubicBezTo>
                <a:cubicBezTo>
                  <a:pt x="594304" y="-2341"/>
                  <a:pt x="735178" y="-11749"/>
                  <a:pt x="892617" y="0"/>
                </a:cubicBezTo>
                <a:cubicBezTo>
                  <a:pt x="898718" y="-817"/>
                  <a:pt x="904454" y="7201"/>
                  <a:pt x="905256" y="12639"/>
                </a:cubicBezTo>
                <a:cubicBezTo>
                  <a:pt x="901162" y="82951"/>
                  <a:pt x="902576" y="147139"/>
                  <a:pt x="905256" y="188529"/>
                </a:cubicBezTo>
                <a:cubicBezTo>
                  <a:pt x="904809" y="194453"/>
                  <a:pt x="900670" y="201488"/>
                  <a:pt x="892617" y="201168"/>
                </a:cubicBezTo>
                <a:cubicBezTo>
                  <a:pt x="743488" y="179475"/>
                  <a:pt x="553326" y="220813"/>
                  <a:pt x="443828" y="201168"/>
                </a:cubicBezTo>
                <a:cubicBezTo>
                  <a:pt x="334330" y="181523"/>
                  <a:pt x="106261" y="212347"/>
                  <a:pt x="12639" y="201168"/>
                </a:cubicBezTo>
                <a:cubicBezTo>
                  <a:pt x="4396" y="200314"/>
                  <a:pt x="-1656" y="196026"/>
                  <a:pt x="0" y="188529"/>
                </a:cubicBezTo>
                <a:cubicBezTo>
                  <a:pt x="-5678" y="127872"/>
                  <a:pt x="2541" y="66617"/>
                  <a:pt x="0" y="12639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solidFill>
              <a:srgbClr val="404040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3520093239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bg1"/>
                </a:solidFill>
              </a:rPr>
              <a:t>Button</a:t>
            </a:r>
          </a:p>
        </p:txBody>
      </p:sp>
      <p:sp>
        <p:nvSpPr>
          <p:cNvPr id="185" name="Input Title">
            <a:extLst>
              <a:ext uri="{FF2B5EF4-FFF2-40B4-BE49-F238E27FC236}">
                <a16:creationId xmlns:a16="http://schemas.microsoft.com/office/drawing/2014/main" id="{A68E826C-9483-48AD-82AD-D53BD6930F16}"/>
              </a:ext>
            </a:extLst>
          </p:cNvPr>
          <p:cNvSpPr txBox="1"/>
          <p:nvPr/>
        </p:nvSpPr>
        <p:spPr>
          <a:xfrm>
            <a:off x="419758" y="2806332"/>
            <a:ext cx="27899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put</a:t>
            </a:r>
          </a:p>
        </p:txBody>
      </p:sp>
      <p:sp>
        <p:nvSpPr>
          <p:cNvPr id="512" name="Slide Title">
            <a:extLst>
              <a:ext uri="{FF2B5EF4-FFF2-40B4-BE49-F238E27FC236}">
                <a16:creationId xmlns:a16="http://schemas.microsoft.com/office/drawing/2014/main" id="{A146AB45-9755-44A2-B735-37D28433F9F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90969" y="156624"/>
            <a:ext cx="3885731" cy="9540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Basic Toolkit</a:t>
            </a:r>
          </a:p>
        </p:txBody>
      </p:sp>
      <p:sp>
        <p:nvSpPr>
          <p:cNvPr id="195" name="Placeholder Text">
            <a:extLst>
              <a:ext uri="{FF2B5EF4-FFF2-40B4-BE49-F238E27FC236}">
                <a16:creationId xmlns:a16="http://schemas.microsoft.com/office/drawing/2014/main" id="{7F807F2A-AEEE-4542-BB2A-9714FC7D56FA}"/>
              </a:ext>
            </a:extLst>
          </p:cNvPr>
          <p:cNvSpPr txBox="1"/>
          <p:nvPr/>
        </p:nvSpPr>
        <p:spPr>
          <a:xfrm>
            <a:off x="9697850" y="769270"/>
            <a:ext cx="205301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e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ctetur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ipiscing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i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ed do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iusmod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mpor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ididun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t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e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olore magna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a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Duis aute irure dolor in reprehenderit in voluptate velit esse cillum dolore eu fugiat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ulla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riatur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cepteur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in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ccaeca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upidata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on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olli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unt culpa.</a:t>
            </a:r>
          </a:p>
        </p:txBody>
      </p:sp>
      <p:grpSp>
        <p:nvGrpSpPr>
          <p:cNvPr id="196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F7290C6E-C7B0-4506-B113-7BDA63A681B6}"/>
              </a:ext>
            </a:extLst>
          </p:cNvPr>
          <p:cNvGrpSpPr/>
          <p:nvPr/>
        </p:nvGrpSpPr>
        <p:grpSpPr>
          <a:xfrm>
            <a:off x="8243892" y="796745"/>
            <a:ext cx="1170432" cy="448056"/>
            <a:chOff x="-5326399" y="1380314"/>
            <a:chExt cx="1228382" cy="622836"/>
          </a:xfrm>
        </p:grpSpPr>
        <p:sp>
          <p:nvSpPr>
            <p:cNvPr id="197" name="Rectangle 5">
              <a:extLst>
                <a:ext uri="{FF2B5EF4-FFF2-40B4-BE49-F238E27FC236}">
                  <a16:creationId xmlns:a16="http://schemas.microsoft.com/office/drawing/2014/main" id="{DC59B6A0-90AF-4D1D-999D-71BC95F54212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228381"/>
                <a:gd name="connsiteY0" fmla="*/ 0 h 64008"/>
                <a:gd name="connsiteX1" fmla="*/ 614191 w 1228381"/>
                <a:gd name="connsiteY1" fmla="*/ 0 h 64008"/>
                <a:gd name="connsiteX2" fmla="*/ 1228381 w 1228381"/>
                <a:gd name="connsiteY2" fmla="*/ 0 h 64008"/>
                <a:gd name="connsiteX3" fmla="*/ 1228381 w 1228381"/>
                <a:gd name="connsiteY3" fmla="*/ 64008 h 64008"/>
                <a:gd name="connsiteX4" fmla="*/ 589623 w 1228381"/>
                <a:gd name="connsiteY4" fmla="*/ 64008 h 64008"/>
                <a:gd name="connsiteX5" fmla="*/ 0 w 1228381"/>
                <a:gd name="connsiteY5" fmla="*/ 64008 h 64008"/>
                <a:gd name="connsiteX6" fmla="*/ 0 w 1228381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8381" h="64008" fill="none" extrusionOk="0">
                  <a:moveTo>
                    <a:pt x="0" y="0"/>
                  </a:moveTo>
                  <a:cubicBezTo>
                    <a:pt x="165142" y="-26428"/>
                    <a:pt x="313313" y="-27854"/>
                    <a:pt x="614191" y="0"/>
                  </a:cubicBezTo>
                  <a:cubicBezTo>
                    <a:pt x="915069" y="27854"/>
                    <a:pt x="997070" y="-23687"/>
                    <a:pt x="1228381" y="0"/>
                  </a:cubicBezTo>
                  <a:cubicBezTo>
                    <a:pt x="1231048" y="27787"/>
                    <a:pt x="1228947" y="42632"/>
                    <a:pt x="1228381" y="64008"/>
                  </a:cubicBezTo>
                  <a:cubicBezTo>
                    <a:pt x="922052" y="77269"/>
                    <a:pt x="869818" y="72455"/>
                    <a:pt x="589623" y="64008"/>
                  </a:cubicBezTo>
                  <a:cubicBezTo>
                    <a:pt x="309428" y="55561"/>
                    <a:pt x="127275" y="82096"/>
                    <a:pt x="0" y="64008"/>
                  </a:cubicBezTo>
                  <a:cubicBezTo>
                    <a:pt x="279" y="44606"/>
                    <a:pt x="-934" y="25820"/>
                    <a:pt x="0" y="0"/>
                  </a:cubicBezTo>
                  <a:close/>
                </a:path>
                <a:path w="1228381" h="64008" stroke="0" extrusionOk="0">
                  <a:moveTo>
                    <a:pt x="0" y="0"/>
                  </a:moveTo>
                  <a:cubicBezTo>
                    <a:pt x="167411" y="-22089"/>
                    <a:pt x="426488" y="1143"/>
                    <a:pt x="626474" y="0"/>
                  </a:cubicBezTo>
                  <a:cubicBezTo>
                    <a:pt x="826460" y="-1143"/>
                    <a:pt x="959873" y="19830"/>
                    <a:pt x="1228381" y="0"/>
                  </a:cubicBezTo>
                  <a:cubicBezTo>
                    <a:pt x="1225713" y="24987"/>
                    <a:pt x="1227770" y="51127"/>
                    <a:pt x="1228381" y="64008"/>
                  </a:cubicBezTo>
                  <a:cubicBezTo>
                    <a:pt x="964899" y="41709"/>
                    <a:pt x="898730" y="60030"/>
                    <a:pt x="589623" y="64008"/>
                  </a:cubicBezTo>
                  <a:cubicBezTo>
                    <a:pt x="280516" y="67986"/>
                    <a:pt x="166407" y="35384"/>
                    <a:pt x="0" y="64008"/>
                  </a:cubicBezTo>
                  <a:cubicBezTo>
                    <a:pt x="-1646" y="44721"/>
                    <a:pt x="1257" y="167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Rectangle 4">
              <a:extLst>
                <a:ext uri="{FF2B5EF4-FFF2-40B4-BE49-F238E27FC236}">
                  <a16:creationId xmlns:a16="http://schemas.microsoft.com/office/drawing/2014/main" id="{53F182DE-E0C0-495C-91F6-12C15EBD7BA9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156123"/>
                <a:gd name="connsiteY0" fmla="*/ 0 h 64008"/>
                <a:gd name="connsiteX1" fmla="*/ 601184 w 1156123"/>
                <a:gd name="connsiteY1" fmla="*/ 0 h 64008"/>
                <a:gd name="connsiteX2" fmla="*/ 1156123 w 1156123"/>
                <a:gd name="connsiteY2" fmla="*/ 0 h 64008"/>
                <a:gd name="connsiteX3" fmla="*/ 1156123 w 1156123"/>
                <a:gd name="connsiteY3" fmla="*/ 64008 h 64008"/>
                <a:gd name="connsiteX4" fmla="*/ 566500 w 1156123"/>
                <a:gd name="connsiteY4" fmla="*/ 64008 h 64008"/>
                <a:gd name="connsiteX5" fmla="*/ 0 w 1156123"/>
                <a:gd name="connsiteY5" fmla="*/ 64008 h 64008"/>
                <a:gd name="connsiteX6" fmla="*/ 0 w 1156123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123" h="64008" fill="none" extrusionOk="0">
                  <a:moveTo>
                    <a:pt x="0" y="0"/>
                  </a:moveTo>
                  <a:cubicBezTo>
                    <a:pt x="138334" y="-18225"/>
                    <a:pt x="313638" y="20190"/>
                    <a:pt x="601184" y="0"/>
                  </a:cubicBezTo>
                  <a:cubicBezTo>
                    <a:pt x="888730" y="-20190"/>
                    <a:pt x="1032926" y="14422"/>
                    <a:pt x="1156123" y="0"/>
                  </a:cubicBezTo>
                  <a:cubicBezTo>
                    <a:pt x="1157324" y="16741"/>
                    <a:pt x="1153679" y="41845"/>
                    <a:pt x="1156123" y="64008"/>
                  </a:cubicBezTo>
                  <a:cubicBezTo>
                    <a:pt x="916827" y="39633"/>
                    <a:pt x="766170" y="43302"/>
                    <a:pt x="566500" y="64008"/>
                  </a:cubicBezTo>
                  <a:cubicBezTo>
                    <a:pt x="366830" y="84714"/>
                    <a:pt x="154499" y="76833"/>
                    <a:pt x="0" y="64008"/>
                  </a:cubicBezTo>
                  <a:cubicBezTo>
                    <a:pt x="1422" y="39840"/>
                    <a:pt x="2711" y="23338"/>
                    <a:pt x="0" y="0"/>
                  </a:cubicBezTo>
                  <a:close/>
                </a:path>
                <a:path w="1156123" h="64008" stroke="0" extrusionOk="0">
                  <a:moveTo>
                    <a:pt x="0" y="0"/>
                  </a:moveTo>
                  <a:cubicBezTo>
                    <a:pt x="166219" y="-22033"/>
                    <a:pt x="353438" y="27318"/>
                    <a:pt x="554939" y="0"/>
                  </a:cubicBezTo>
                  <a:cubicBezTo>
                    <a:pt x="756440" y="-27318"/>
                    <a:pt x="952613" y="-20057"/>
                    <a:pt x="1156123" y="0"/>
                  </a:cubicBezTo>
                  <a:cubicBezTo>
                    <a:pt x="1155374" y="20271"/>
                    <a:pt x="1158168" y="49605"/>
                    <a:pt x="1156123" y="64008"/>
                  </a:cubicBezTo>
                  <a:cubicBezTo>
                    <a:pt x="901980" y="83371"/>
                    <a:pt x="716074" y="68995"/>
                    <a:pt x="566500" y="64008"/>
                  </a:cubicBezTo>
                  <a:cubicBezTo>
                    <a:pt x="416926" y="59021"/>
                    <a:pt x="195891" y="79443"/>
                    <a:pt x="0" y="64008"/>
                  </a:cubicBezTo>
                  <a:cubicBezTo>
                    <a:pt x="2854" y="41256"/>
                    <a:pt x="2167" y="1843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Rectangle 3">
              <a:extLst>
                <a:ext uri="{FF2B5EF4-FFF2-40B4-BE49-F238E27FC236}">
                  <a16:creationId xmlns:a16="http://schemas.microsoft.com/office/drawing/2014/main" id="{D8402D30-15CD-496A-BE35-2F7F3901ADFA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932688"/>
                <a:gd name="connsiteY0" fmla="*/ 0 h 64008"/>
                <a:gd name="connsiteX1" fmla="*/ 475671 w 932688"/>
                <a:gd name="connsiteY1" fmla="*/ 0 h 64008"/>
                <a:gd name="connsiteX2" fmla="*/ 932688 w 932688"/>
                <a:gd name="connsiteY2" fmla="*/ 0 h 64008"/>
                <a:gd name="connsiteX3" fmla="*/ 932688 w 932688"/>
                <a:gd name="connsiteY3" fmla="*/ 64008 h 64008"/>
                <a:gd name="connsiteX4" fmla="*/ 447690 w 932688"/>
                <a:gd name="connsiteY4" fmla="*/ 64008 h 64008"/>
                <a:gd name="connsiteX5" fmla="*/ 0 w 932688"/>
                <a:gd name="connsiteY5" fmla="*/ 64008 h 64008"/>
                <a:gd name="connsiteX6" fmla="*/ 0 w 93268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2688" h="64008" fill="none" extrusionOk="0">
                  <a:moveTo>
                    <a:pt x="0" y="0"/>
                  </a:moveTo>
                  <a:cubicBezTo>
                    <a:pt x="109317" y="3578"/>
                    <a:pt x="347583" y="22913"/>
                    <a:pt x="475671" y="0"/>
                  </a:cubicBezTo>
                  <a:cubicBezTo>
                    <a:pt x="603759" y="-22913"/>
                    <a:pt x="760272" y="8236"/>
                    <a:pt x="932688" y="0"/>
                  </a:cubicBezTo>
                  <a:cubicBezTo>
                    <a:pt x="932471" y="28692"/>
                    <a:pt x="934511" y="49533"/>
                    <a:pt x="932688" y="64008"/>
                  </a:cubicBezTo>
                  <a:cubicBezTo>
                    <a:pt x="735398" y="61622"/>
                    <a:pt x="633287" y="49920"/>
                    <a:pt x="447690" y="64008"/>
                  </a:cubicBezTo>
                  <a:cubicBezTo>
                    <a:pt x="262093" y="78096"/>
                    <a:pt x="98017" y="51756"/>
                    <a:pt x="0" y="64008"/>
                  </a:cubicBezTo>
                  <a:cubicBezTo>
                    <a:pt x="-1284" y="37907"/>
                    <a:pt x="510" y="23488"/>
                    <a:pt x="0" y="0"/>
                  </a:cubicBezTo>
                  <a:close/>
                </a:path>
                <a:path w="932688" h="64008" stroke="0" extrusionOk="0">
                  <a:moveTo>
                    <a:pt x="0" y="0"/>
                  </a:moveTo>
                  <a:cubicBezTo>
                    <a:pt x="200156" y="19546"/>
                    <a:pt x="294544" y="-7345"/>
                    <a:pt x="447690" y="0"/>
                  </a:cubicBezTo>
                  <a:cubicBezTo>
                    <a:pt x="600836" y="7345"/>
                    <a:pt x="738317" y="18659"/>
                    <a:pt x="932688" y="0"/>
                  </a:cubicBezTo>
                  <a:cubicBezTo>
                    <a:pt x="930798" y="18002"/>
                    <a:pt x="934551" y="37102"/>
                    <a:pt x="932688" y="64008"/>
                  </a:cubicBezTo>
                  <a:cubicBezTo>
                    <a:pt x="742216" y="82812"/>
                    <a:pt x="616855" y="63230"/>
                    <a:pt x="457017" y="64008"/>
                  </a:cubicBezTo>
                  <a:cubicBezTo>
                    <a:pt x="297179" y="64786"/>
                    <a:pt x="180098" y="47449"/>
                    <a:pt x="0" y="64008"/>
                  </a:cubicBezTo>
                  <a:cubicBezTo>
                    <a:pt x="-80" y="37080"/>
                    <a:pt x="3083" y="147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0" name="Rectangle 2">
              <a:extLst>
                <a:ext uri="{FF2B5EF4-FFF2-40B4-BE49-F238E27FC236}">
                  <a16:creationId xmlns:a16="http://schemas.microsoft.com/office/drawing/2014/main" id="{78B90976-25ED-41F0-AF28-21AE6991D052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011608"/>
                <a:gd name="connsiteY0" fmla="*/ 0 h 64008"/>
                <a:gd name="connsiteX1" fmla="*/ 475456 w 1011608"/>
                <a:gd name="connsiteY1" fmla="*/ 0 h 64008"/>
                <a:gd name="connsiteX2" fmla="*/ 1011608 w 1011608"/>
                <a:gd name="connsiteY2" fmla="*/ 0 h 64008"/>
                <a:gd name="connsiteX3" fmla="*/ 1011608 w 1011608"/>
                <a:gd name="connsiteY3" fmla="*/ 64008 h 64008"/>
                <a:gd name="connsiteX4" fmla="*/ 495688 w 1011608"/>
                <a:gd name="connsiteY4" fmla="*/ 64008 h 64008"/>
                <a:gd name="connsiteX5" fmla="*/ 0 w 1011608"/>
                <a:gd name="connsiteY5" fmla="*/ 64008 h 64008"/>
                <a:gd name="connsiteX6" fmla="*/ 0 w 101160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1608" h="64008" fill="none" extrusionOk="0">
                  <a:moveTo>
                    <a:pt x="0" y="0"/>
                  </a:moveTo>
                  <a:cubicBezTo>
                    <a:pt x="197554" y="-21691"/>
                    <a:pt x="380014" y="-11599"/>
                    <a:pt x="475456" y="0"/>
                  </a:cubicBezTo>
                  <a:cubicBezTo>
                    <a:pt x="570898" y="11599"/>
                    <a:pt x="782937" y="-5214"/>
                    <a:pt x="1011608" y="0"/>
                  </a:cubicBezTo>
                  <a:cubicBezTo>
                    <a:pt x="1011841" y="15641"/>
                    <a:pt x="1009721" y="34909"/>
                    <a:pt x="1011608" y="64008"/>
                  </a:cubicBezTo>
                  <a:cubicBezTo>
                    <a:pt x="779116" y="85202"/>
                    <a:pt x="615303" y="78058"/>
                    <a:pt x="495688" y="64008"/>
                  </a:cubicBezTo>
                  <a:cubicBezTo>
                    <a:pt x="376073" y="49958"/>
                    <a:pt x="140136" y="47640"/>
                    <a:pt x="0" y="64008"/>
                  </a:cubicBezTo>
                  <a:cubicBezTo>
                    <a:pt x="3173" y="46995"/>
                    <a:pt x="-2625" y="25867"/>
                    <a:pt x="0" y="0"/>
                  </a:cubicBezTo>
                  <a:close/>
                </a:path>
                <a:path w="1011608" h="64008" stroke="0" extrusionOk="0">
                  <a:moveTo>
                    <a:pt x="0" y="0"/>
                  </a:moveTo>
                  <a:cubicBezTo>
                    <a:pt x="187624" y="-17970"/>
                    <a:pt x="388346" y="13916"/>
                    <a:pt x="485572" y="0"/>
                  </a:cubicBezTo>
                  <a:cubicBezTo>
                    <a:pt x="582798" y="-13916"/>
                    <a:pt x="756689" y="9945"/>
                    <a:pt x="1011608" y="0"/>
                  </a:cubicBezTo>
                  <a:cubicBezTo>
                    <a:pt x="1009361" y="30074"/>
                    <a:pt x="1012688" y="42635"/>
                    <a:pt x="1011608" y="64008"/>
                  </a:cubicBezTo>
                  <a:cubicBezTo>
                    <a:pt x="854532" y="57458"/>
                    <a:pt x="733233" y="54927"/>
                    <a:pt x="505804" y="64008"/>
                  </a:cubicBezTo>
                  <a:cubicBezTo>
                    <a:pt x="278375" y="73089"/>
                    <a:pt x="130855" y="42822"/>
                    <a:pt x="0" y="64008"/>
                  </a:cubicBezTo>
                  <a:cubicBezTo>
                    <a:pt x="-3178" y="36820"/>
                    <a:pt x="-2722" y="28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Rectangle 1">
              <a:extLst>
                <a:ext uri="{FF2B5EF4-FFF2-40B4-BE49-F238E27FC236}">
                  <a16:creationId xmlns:a16="http://schemas.microsoft.com/office/drawing/2014/main" id="{698B99AD-132D-4687-918C-99041FD66BB3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869092"/>
                <a:gd name="connsiteY0" fmla="*/ 0 h 64008"/>
                <a:gd name="connsiteX1" fmla="*/ 451928 w 869092"/>
                <a:gd name="connsiteY1" fmla="*/ 0 h 64008"/>
                <a:gd name="connsiteX2" fmla="*/ 869092 w 869092"/>
                <a:gd name="connsiteY2" fmla="*/ 0 h 64008"/>
                <a:gd name="connsiteX3" fmla="*/ 869092 w 869092"/>
                <a:gd name="connsiteY3" fmla="*/ 64008 h 64008"/>
                <a:gd name="connsiteX4" fmla="*/ 443237 w 869092"/>
                <a:gd name="connsiteY4" fmla="*/ 64008 h 64008"/>
                <a:gd name="connsiteX5" fmla="*/ 0 w 869092"/>
                <a:gd name="connsiteY5" fmla="*/ 64008 h 64008"/>
                <a:gd name="connsiteX6" fmla="*/ 0 w 869092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092" h="64008" fill="none" extrusionOk="0">
                  <a:moveTo>
                    <a:pt x="0" y="0"/>
                  </a:moveTo>
                  <a:cubicBezTo>
                    <a:pt x="109012" y="18379"/>
                    <a:pt x="348535" y="-18141"/>
                    <a:pt x="451928" y="0"/>
                  </a:cubicBezTo>
                  <a:cubicBezTo>
                    <a:pt x="555321" y="18141"/>
                    <a:pt x="748048" y="-6654"/>
                    <a:pt x="869092" y="0"/>
                  </a:cubicBezTo>
                  <a:cubicBezTo>
                    <a:pt x="872239" y="21123"/>
                    <a:pt x="867620" y="35558"/>
                    <a:pt x="869092" y="64008"/>
                  </a:cubicBezTo>
                  <a:cubicBezTo>
                    <a:pt x="682938" y="74288"/>
                    <a:pt x="584473" y="51890"/>
                    <a:pt x="443237" y="64008"/>
                  </a:cubicBezTo>
                  <a:cubicBezTo>
                    <a:pt x="302002" y="76126"/>
                    <a:pt x="150286" y="50849"/>
                    <a:pt x="0" y="64008"/>
                  </a:cubicBezTo>
                  <a:cubicBezTo>
                    <a:pt x="-2411" y="33843"/>
                    <a:pt x="1447" y="23221"/>
                    <a:pt x="0" y="0"/>
                  </a:cubicBezTo>
                  <a:close/>
                </a:path>
                <a:path w="869092" h="64008" stroke="0" extrusionOk="0">
                  <a:moveTo>
                    <a:pt x="0" y="0"/>
                  </a:moveTo>
                  <a:cubicBezTo>
                    <a:pt x="154071" y="-18764"/>
                    <a:pt x="254687" y="20448"/>
                    <a:pt x="425855" y="0"/>
                  </a:cubicBezTo>
                  <a:cubicBezTo>
                    <a:pt x="597023" y="-20448"/>
                    <a:pt x="739597" y="3820"/>
                    <a:pt x="869092" y="0"/>
                  </a:cubicBezTo>
                  <a:cubicBezTo>
                    <a:pt x="870588" y="25188"/>
                    <a:pt x="869529" y="50929"/>
                    <a:pt x="869092" y="64008"/>
                  </a:cubicBezTo>
                  <a:cubicBezTo>
                    <a:pt x="728868" y="65134"/>
                    <a:pt x="620845" y="85554"/>
                    <a:pt x="434546" y="64008"/>
                  </a:cubicBezTo>
                  <a:cubicBezTo>
                    <a:pt x="248247" y="42462"/>
                    <a:pt x="134031" y="80743"/>
                    <a:pt x="0" y="64008"/>
                  </a:cubicBezTo>
                  <a:cubicBezTo>
                    <a:pt x="-2503" y="44586"/>
                    <a:pt x="3172" y="2066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2" name="Text Placeholder Title">
            <a:extLst>
              <a:ext uri="{FF2B5EF4-FFF2-40B4-BE49-F238E27FC236}">
                <a16:creationId xmlns:a16="http://schemas.microsoft.com/office/drawing/2014/main" id="{AE400CF9-C1EF-4553-B738-D985129FEABF}"/>
              </a:ext>
            </a:extLst>
          </p:cNvPr>
          <p:cNvSpPr txBox="1"/>
          <p:nvPr/>
        </p:nvSpPr>
        <p:spPr>
          <a:xfrm>
            <a:off x="8154536" y="233758"/>
            <a:ext cx="2439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Text Placeholder</a:t>
            </a:r>
          </a:p>
        </p:txBody>
      </p:sp>
      <p:grpSp>
        <p:nvGrpSpPr>
          <p:cNvPr id="250" name="Filled Picture Placeholder 3" descr="Picture placeholder 3">
            <a:extLst>
              <a:ext uri="{FF2B5EF4-FFF2-40B4-BE49-F238E27FC236}">
                <a16:creationId xmlns:a16="http://schemas.microsoft.com/office/drawing/2014/main" id="{58417837-FBDF-46D2-A415-4AE1F891F49E}"/>
              </a:ext>
            </a:extLst>
          </p:cNvPr>
          <p:cNvGrpSpPr/>
          <p:nvPr/>
        </p:nvGrpSpPr>
        <p:grpSpPr>
          <a:xfrm>
            <a:off x="11039322" y="3352780"/>
            <a:ext cx="822960" cy="493776"/>
            <a:chOff x="7281490" y="8160201"/>
            <a:chExt cx="926293" cy="555948"/>
          </a:xfrm>
        </p:grpSpPr>
        <p:sp>
          <p:nvSpPr>
            <p:cNvPr id="251" name="Picture Placeholder">
              <a:extLst>
                <a:ext uri="{FF2B5EF4-FFF2-40B4-BE49-F238E27FC236}">
                  <a16:creationId xmlns:a16="http://schemas.microsoft.com/office/drawing/2014/main" id="{250E3380-F565-4D7E-9C20-6F9C8C8FCBBE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926293"/>
                <a:gd name="connsiteY0" fmla="*/ 6866 h 555948"/>
                <a:gd name="connsiteX1" fmla="*/ 6866 w 926293"/>
                <a:gd name="connsiteY1" fmla="*/ 0 h 555948"/>
                <a:gd name="connsiteX2" fmla="*/ 463147 w 926293"/>
                <a:gd name="connsiteY2" fmla="*/ 0 h 555948"/>
                <a:gd name="connsiteX3" fmla="*/ 919427 w 926293"/>
                <a:gd name="connsiteY3" fmla="*/ 0 h 555948"/>
                <a:gd name="connsiteX4" fmla="*/ 926293 w 926293"/>
                <a:gd name="connsiteY4" fmla="*/ 6866 h 555948"/>
                <a:gd name="connsiteX5" fmla="*/ 926293 w 926293"/>
                <a:gd name="connsiteY5" fmla="*/ 549082 h 555948"/>
                <a:gd name="connsiteX6" fmla="*/ 919427 w 926293"/>
                <a:gd name="connsiteY6" fmla="*/ 555948 h 555948"/>
                <a:gd name="connsiteX7" fmla="*/ 463147 w 926293"/>
                <a:gd name="connsiteY7" fmla="*/ 555948 h 555948"/>
                <a:gd name="connsiteX8" fmla="*/ 6866 w 926293"/>
                <a:gd name="connsiteY8" fmla="*/ 555948 h 555948"/>
                <a:gd name="connsiteX9" fmla="*/ 0 w 926293"/>
                <a:gd name="connsiteY9" fmla="*/ 549082 h 555948"/>
                <a:gd name="connsiteX10" fmla="*/ 0 w 926293"/>
                <a:gd name="connsiteY10" fmla="*/ 6866 h 55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6293" h="555948" fill="none" extrusionOk="0">
                  <a:moveTo>
                    <a:pt x="0" y="6866"/>
                  </a:moveTo>
                  <a:cubicBezTo>
                    <a:pt x="-30" y="3958"/>
                    <a:pt x="2921" y="-476"/>
                    <a:pt x="6866" y="0"/>
                  </a:cubicBezTo>
                  <a:cubicBezTo>
                    <a:pt x="191964" y="21782"/>
                    <a:pt x="249696" y="-2468"/>
                    <a:pt x="463147" y="0"/>
                  </a:cubicBezTo>
                  <a:cubicBezTo>
                    <a:pt x="676598" y="2468"/>
                    <a:pt x="791606" y="13234"/>
                    <a:pt x="919427" y="0"/>
                  </a:cubicBezTo>
                  <a:cubicBezTo>
                    <a:pt x="923030" y="-544"/>
                    <a:pt x="926198" y="2993"/>
                    <a:pt x="926293" y="6866"/>
                  </a:cubicBezTo>
                  <a:cubicBezTo>
                    <a:pt x="953109" y="237565"/>
                    <a:pt x="900117" y="374835"/>
                    <a:pt x="926293" y="549082"/>
                  </a:cubicBezTo>
                  <a:cubicBezTo>
                    <a:pt x="925616" y="553142"/>
                    <a:pt x="923370" y="556001"/>
                    <a:pt x="919427" y="555948"/>
                  </a:cubicBezTo>
                  <a:cubicBezTo>
                    <a:pt x="746083" y="565383"/>
                    <a:pt x="657548" y="534151"/>
                    <a:pt x="463147" y="555948"/>
                  </a:cubicBezTo>
                  <a:cubicBezTo>
                    <a:pt x="268746" y="577745"/>
                    <a:pt x="131909" y="546671"/>
                    <a:pt x="6866" y="555948"/>
                  </a:cubicBezTo>
                  <a:cubicBezTo>
                    <a:pt x="3639" y="555867"/>
                    <a:pt x="-143" y="553017"/>
                    <a:pt x="0" y="549082"/>
                  </a:cubicBezTo>
                  <a:cubicBezTo>
                    <a:pt x="-673" y="349520"/>
                    <a:pt x="26484" y="121425"/>
                    <a:pt x="0" y="6866"/>
                  </a:cubicBezTo>
                  <a:close/>
                </a:path>
                <a:path w="926293" h="555948" stroke="0" extrusionOk="0">
                  <a:moveTo>
                    <a:pt x="0" y="6866"/>
                  </a:moveTo>
                  <a:cubicBezTo>
                    <a:pt x="-22" y="2747"/>
                    <a:pt x="3253" y="-546"/>
                    <a:pt x="6866" y="0"/>
                  </a:cubicBezTo>
                  <a:cubicBezTo>
                    <a:pt x="142052" y="-7444"/>
                    <a:pt x="274827" y="14461"/>
                    <a:pt x="444895" y="0"/>
                  </a:cubicBezTo>
                  <a:cubicBezTo>
                    <a:pt x="614963" y="-14461"/>
                    <a:pt x="688792" y="-10209"/>
                    <a:pt x="919427" y="0"/>
                  </a:cubicBezTo>
                  <a:cubicBezTo>
                    <a:pt x="923341" y="224"/>
                    <a:pt x="926288" y="3813"/>
                    <a:pt x="926293" y="6866"/>
                  </a:cubicBezTo>
                  <a:cubicBezTo>
                    <a:pt x="916543" y="188338"/>
                    <a:pt x="942619" y="391448"/>
                    <a:pt x="926293" y="549082"/>
                  </a:cubicBezTo>
                  <a:cubicBezTo>
                    <a:pt x="925830" y="552079"/>
                    <a:pt x="923456" y="555697"/>
                    <a:pt x="919427" y="555948"/>
                  </a:cubicBezTo>
                  <a:cubicBezTo>
                    <a:pt x="734782" y="542145"/>
                    <a:pt x="649506" y="568689"/>
                    <a:pt x="481398" y="555948"/>
                  </a:cubicBezTo>
                  <a:cubicBezTo>
                    <a:pt x="313290" y="543207"/>
                    <a:pt x="192922" y="536094"/>
                    <a:pt x="6866" y="555948"/>
                  </a:cubicBezTo>
                  <a:cubicBezTo>
                    <a:pt x="3652" y="556077"/>
                    <a:pt x="-614" y="553399"/>
                    <a:pt x="0" y="549082"/>
                  </a:cubicBezTo>
                  <a:cubicBezTo>
                    <a:pt x="14576" y="326573"/>
                    <a:pt x="23897" y="206876"/>
                    <a:pt x="0" y="68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6" name="Picture Placeholder Graphic">
              <a:extLst>
                <a:ext uri="{FF2B5EF4-FFF2-40B4-BE49-F238E27FC236}">
                  <a16:creationId xmlns:a16="http://schemas.microsoft.com/office/drawing/2014/main" id="{C25C1177-873C-4ABD-8DC0-085C6D6E90D1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257" name="Triangle 2">
                <a:extLst>
                  <a:ext uri="{FF2B5EF4-FFF2-40B4-BE49-F238E27FC236}">
                    <a16:creationId xmlns:a16="http://schemas.microsoft.com/office/drawing/2014/main" id="{C8EF6899-57D8-47DD-A1AE-1D6943D4C816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8" name="Triangle 1">
                <a:extLst>
                  <a:ext uri="{FF2B5EF4-FFF2-40B4-BE49-F238E27FC236}">
                    <a16:creationId xmlns:a16="http://schemas.microsoft.com/office/drawing/2014/main" id="{4EB08B0F-4035-4A41-9EB2-646B8DC15678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1" name="Circle">
                <a:extLst>
                  <a:ext uri="{FF2B5EF4-FFF2-40B4-BE49-F238E27FC236}">
                    <a16:creationId xmlns:a16="http://schemas.microsoft.com/office/drawing/2014/main" id="{F693C67E-93AC-4038-95C7-BBAED832DD08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67119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Upload Here" descr="Upload photo placeholder">
            <a:extLst>
              <a:ext uri="{FF2B5EF4-FFF2-40B4-BE49-F238E27FC236}">
                <a16:creationId xmlns:a16="http://schemas.microsoft.com/office/drawing/2014/main" id="{8818E5B2-93F4-4898-9F5E-96CE5E86B512}"/>
              </a:ext>
            </a:extLst>
          </p:cNvPr>
          <p:cNvGrpSpPr/>
          <p:nvPr/>
        </p:nvGrpSpPr>
        <p:grpSpPr>
          <a:xfrm>
            <a:off x="3270818" y="4163038"/>
            <a:ext cx="1279613" cy="770965"/>
            <a:chOff x="-500866" y="3685579"/>
            <a:chExt cx="1279613" cy="770965"/>
          </a:xfrm>
        </p:grpSpPr>
        <p:sp>
          <p:nvSpPr>
            <p:cNvPr id="154" name="Upload Here Box Outline">
              <a:extLst>
                <a:ext uri="{FF2B5EF4-FFF2-40B4-BE49-F238E27FC236}">
                  <a16:creationId xmlns:a16="http://schemas.microsoft.com/office/drawing/2014/main" id="{447563DF-963A-4D79-9772-8B1A5EE75FE6}"/>
                </a:ext>
              </a:extLst>
            </p:cNvPr>
            <p:cNvSpPr/>
            <p:nvPr/>
          </p:nvSpPr>
          <p:spPr>
            <a:xfrm>
              <a:off x="-500866" y="3685579"/>
              <a:ext cx="1279613" cy="770965"/>
            </a:xfrm>
            <a:custGeom>
              <a:avLst/>
              <a:gdLst>
                <a:gd name="connsiteX0" fmla="*/ 0 w 1279613"/>
                <a:gd name="connsiteY0" fmla="*/ 4672 h 770965"/>
                <a:gd name="connsiteX1" fmla="*/ 4672 w 1279613"/>
                <a:gd name="connsiteY1" fmla="*/ 0 h 770965"/>
                <a:gd name="connsiteX2" fmla="*/ 652509 w 1279613"/>
                <a:gd name="connsiteY2" fmla="*/ 0 h 770965"/>
                <a:gd name="connsiteX3" fmla="*/ 1274941 w 1279613"/>
                <a:gd name="connsiteY3" fmla="*/ 0 h 770965"/>
                <a:gd name="connsiteX4" fmla="*/ 1279613 w 1279613"/>
                <a:gd name="connsiteY4" fmla="*/ 4672 h 770965"/>
                <a:gd name="connsiteX5" fmla="*/ 1279613 w 1279613"/>
                <a:gd name="connsiteY5" fmla="*/ 385483 h 770965"/>
                <a:gd name="connsiteX6" fmla="*/ 1279613 w 1279613"/>
                <a:gd name="connsiteY6" fmla="*/ 766293 h 770965"/>
                <a:gd name="connsiteX7" fmla="*/ 1274941 w 1279613"/>
                <a:gd name="connsiteY7" fmla="*/ 770965 h 770965"/>
                <a:gd name="connsiteX8" fmla="*/ 652509 w 1279613"/>
                <a:gd name="connsiteY8" fmla="*/ 770965 h 770965"/>
                <a:gd name="connsiteX9" fmla="*/ 4672 w 1279613"/>
                <a:gd name="connsiteY9" fmla="*/ 770965 h 770965"/>
                <a:gd name="connsiteX10" fmla="*/ 0 w 1279613"/>
                <a:gd name="connsiteY10" fmla="*/ 766293 h 770965"/>
                <a:gd name="connsiteX11" fmla="*/ 0 w 1279613"/>
                <a:gd name="connsiteY11" fmla="*/ 385483 h 770965"/>
                <a:gd name="connsiteX12" fmla="*/ 0 w 1279613"/>
                <a:gd name="connsiteY12" fmla="*/ 4672 h 77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9613" h="770965" fill="none" extrusionOk="0">
                  <a:moveTo>
                    <a:pt x="0" y="4672"/>
                  </a:moveTo>
                  <a:cubicBezTo>
                    <a:pt x="-109" y="2110"/>
                    <a:pt x="1861" y="64"/>
                    <a:pt x="4672" y="0"/>
                  </a:cubicBezTo>
                  <a:cubicBezTo>
                    <a:pt x="168378" y="14292"/>
                    <a:pt x="519265" y="-19746"/>
                    <a:pt x="652509" y="0"/>
                  </a:cubicBezTo>
                  <a:cubicBezTo>
                    <a:pt x="785753" y="19746"/>
                    <a:pt x="1121813" y="4644"/>
                    <a:pt x="1274941" y="0"/>
                  </a:cubicBezTo>
                  <a:cubicBezTo>
                    <a:pt x="1277888" y="-41"/>
                    <a:pt x="1279345" y="2525"/>
                    <a:pt x="1279613" y="4672"/>
                  </a:cubicBezTo>
                  <a:cubicBezTo>
                    <a:pt x="1264663" y="152314"/>
                    <a:pt x="1285670" y="257041"/>
                    <a:pt x="1279613" y="385483"/>
                  </a:cubicBezTo>
                  <a:cubicBezTo>
                    <a:pt x="1273556" y="513925"/>
                    <a:pt x="1294810" y="584968"/>
                    <a:pt x="1279613" y="766293"/>
                  </a:cubicBezTo>
                  <a:cubicBezTo>
                    <a:pt x="1279786" y="769422"/>
                    <a:pt x="1277390" y="771213"/>
                    <a:pt x="1274941" y="770965"/>
                  </a:cubicBezTo>
                  <a:cubicBezTo>
                    <a:pt x="1080345" y="778933"/>
                    <a:pt x="821787" y="771430"/>
                    <a:pt x="652509" y="770965"/>
                  </a:cubicBezTo>
                  <a:cubicBezTo>
                    <a:pt x="483231" y="770500"/>
                    <a:pt x="221454" y="799350"/>
                    <a:pt x="4672" y="770965"/>
                  </a:cubicBezTo>
                  <a:cubicBezTo>
                    <a:pt x="2270" y="770820"/>
                    <a:pt x="421" y="768885"/>
                    <a:pt x="0" y="766293"/>
                  </a:cubicBezTo>
                  <a:cubicBezTo>
                    <a:pt x="-15731" y="604756"/>
                    <a:pt x="12932" y="549474"/>
                    <a:pt x="0" y="385483"/>
                  </a:cubicBezTo>
                  <a:cubicBezTo>
                    <a:pt x="-12932" y="221492"/>
                    <a:pt x="-7049" y="162498"/>
                    <a:pt x="0" y="4672"/>
                  </a:cubicBezTo>
                  <a:close/>
                </a:path>
                <a:path w="1279613" h="770965" stroke="0" extrusionOk="0">
                  <a:moveTo>
                    <a:pt x="0" y="4672"/>
                  </a:moveTo>
                  <a:cubicBezTo>
                    <a:pt x="-24" y="1737"/>
                    <a:pt x="2174" y="-249"/>
                    <a:pt x="4672" y="0"/>
                  </a:cubicBezTo>
                  <a:cubicBezTo>
                    <a:pt x="151534" y="27786"/>
                    <a:pt x="454337" y="-19518"/>
                    <a:pt x="614401" y="0"/>
                  </a:cubicBezTo>
                  <a:cubicBezTo>
                    <a:pt x="774465" y="19518"/>
                    <a:pt x="1037887" y="-6955"/>
                    <a:pt x="1274941" y="0"/>
                  </a:cubicBezTo>
                  <a:cubicBezTo>
                    <a:pt x="1277771" y="458"/>
                    <a:pt x="1279613" y="2158"/>
                    <a:pt x="1279613" y="4672"/>
                  </a:cubicBezTo>
                  <a:cubicBezTo>
                    <a:pt x="1274234" y="113782"/>
                    <a:pt x="1286544" y="223303"/>
                    <a:pt x="1279613" y="370250"/>
                  </a:cubicBezTo>
                  <a:cubicBezTo>
                    <a:pt x="1272682" y="517197"/>
                    <a:pt x="1283027" y="646822"/>
                    <a:pt x="1279613" y="766293"/>
                  </a:cubicBezTo>
                  <a:cubicBezTo>
                    <a:pt x="1279764" y="768333"/>
                    <a:pt x="1277651" y="771255"/>
                    <a:pt x="1274941" y="770965"/>
                  </a:cubicBezTo>
                  <a:cubicBezTo>
                    <a:pt x="966478" y="751046"/>
                    <a:pt x="859191" y="772656"/>
                    <a:pt x="652509" y="770965"/>
                  </a:cubicBezTo>
                  <a:cubicBezTo>
                    <a:pt x="445827" y="769274"/>
                    <a:pt x="321349" y="746082"/>
                    <a:pt x="4672" y="770965"/>
                  </a:cubicBezTo>
                  <a:cubicBezTo>
                    <a:pt x="1908" y="771360"/>
                    <a:pt x="-147" y="769067"/>
                    <a:pt x="0" y="766293"/>
                  </a:cubicBezTo>
                  <a:cubicBezTo>
                    <a:pt x="12797" y="687860"/>
                    <a:pt x="-10327" y="485006"/>
                    <a:pt x="0" y="385483"/>
                  </a:cubicBezTo>
                  <a:cubicBezTo>
                    <a:pt x="10327" y="285960"/>
                    <a:pt x="406" y="92416"/>
                    <a:pt x="0" y="467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lgDash"/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606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5" name="Upload Here">
              <a:extLst>
                <a:ext uri="{FF2B5EF4-FFF2-40B4-BE49-F238E27FC236}">
                  <a16:creationId xmlns:a16="http://schemas.microsoft.com/office/drawing/2014/main" id="{488B201E-0375-490E-882C-D78B5569813B}"/>
                </a:ext>
              </a:extLst>
            </p:cNvPr>
            <p:cNvGrpSpPr/>
            <p:nvPr/>
          </p:nvGrpSpPr>
          <p:grpSpPr>
            <a:xfrm>
              <a:off x="-226825" y="3997543"/>
              <a:ext cx="905915" cy="191578"/>
              <a:chOff x="7424888" y="8033564"/>
              <a:chExt cx="905915" cy="191578"/>
            </a:xfrm>
          </p:grpSpPr>
          <p:sp>
            <p:nvSpPr>
              <p:cNvPr id="156" name="Upload Here Text">
                <a:extLst>
                  <a:ext uri="{FF2B5EF4-FFF2-40B4-BE49-F238E27FC236}">
                    <a16:creationId xmlns:a16="http://schemas.microsoft.com/office/drawing/2014/main" id="{6728377A-9C0C-4CD2-AC8A-50F25C358DAC}"/>
                  </a:ext>
                </a:extLst>
              </p:cNvPr>
              <p:cNvSpPr txBox="1"/>
              <p:nvPr/>
            </p:nvSpPr>
            <p:spPr>
              <a:xfrm>
                <a:off x="7650467" y="8063559"/>
                <a:ext cx="680336" cy="161583"/>
              </a:xfrm>
              <a:prstGeom prst="rect">
                <a:avLst/>
              </a:prstGeom>
              <a:noFill/>
            </p:spPr>
            <p:txBody>
              <a:bodyPr wrap="square" lIns="0" tIns="0" rIns="0" rtlCol="0" anchor="ctr">
                <a:spAutoFit/>
              </a:bodyPr>
              <a:lstStyle/>
              <a:p>
                <a:r>
                  <a:rPr lang="en-US" sz="750">
                    <a:solidFill>
                      <a:schemeClr val="tx1">
                        <a:lumMod val="75000"/>
                        <a:lumOff val="25000"/>
                        <a:alpha val="35000"/>
                      </a:schemeClr>
                    </a:solidFill>
                  </a:rPr>
                  <a:t>Upload Here</a:t>
                </a:r>
              </a:p>
            </p:txBody>
          </p:sp>
          <p:pic>
            <p:nvPicPr>
              <p:cNvPr id="157" name="Picture Icon" descr="Camera">
                <a:extLst>
                  <a:ext uri="{FF2B5EF4-FFF2-40B4-BE49-F238E27FC236}">
                    <a16:creationId xmlns:a16="http://schemas.microsoft.com/office/drawing/2014/main" id="{9F7D15D4-F196-4FBA-9BDD-0A9F0E68D3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7424888" y="8033564"/>
                <a:ext cx="171831" cy="171831"/>
              </a:xfrm>
              <a:prstGeom prst="rect">
                <a:avLst/>
              </a:prstGeom>
            </p:spPr>
          </p:pic>
        </p:grpSp>
      </p:grpSp>
      <p:grpSp>
        <p:nvGrpSpPr>
          <p:cNvPr id="159" name="Drag File Here" descr="Drag photo here placeholder">
            <a:extLst>
              <a:ext uri="{FF2B5EF4-FFF2-40B4-BE49-F238E27FC236}">
                <a16:creationId xmlns:a16="http://schemas.microsoft.com/office/drawing/2014/main" id="{019E1EFC-85F4-4DDA-8131-3D73F35FF55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3262183" y="3225615"/>
            <a:ext cx="1279613" cy="770965"/>
            <a:chOff x="7150847" y="7721600"/>
            <a:chExt cx="1279613" cy="770965"/>
          </a:xfrm>
        </p:grpSpPr>
        <p:sp>
          <p:nvSpPr>
            <p:cNvPr id="160" name="Drag File Box Outline">
              <a:extLst>
                <a:ext uri="{FF2B5EF4-FFF2-40B4-BE49-F238E27FC236}">
                  <a16:creationId xmlns:a16="http://schemas.microsoft.com/office/drawing/2014/main" id="{A593BFBD-2A4B-49CF-9CD4-B7777495EB4D}"/>
                </a:ext>
              </a:extLst>
            </p:cNvPr>
            <p:cNvSpPr/>
            <p:nvPr/>
          </p:nvSpPr>
          <p:spPr>
            <a:xfrm>
              <a:off x="7150847" y="7721600"/>
              <a:ext cx="1279613" cy="770965"/>
            </a:xfrm>
            <a:custGeom>
              <a:avLst/>
              <a:gdLst>
                <a:gd name="connsiteX0" fmla="*/ 0 w 1279613"/>
                <a:gd name="connsiteY0" fmla="*/ 4672 h 770965"/>
                <a:gd name="connsiteX1" fmla="*/ 4672 w 1279613"/>
                <a:gd name="connsiteY1" fmla="*/ 0 h 770965"/>
                <a:gd name="connsiteX2" fmla="*/ 652509 w 1279613"/>
                <a:gd name="connsiteY2" fmla="*/ 0 h 770965"/>
                <a:gd name="connsiteX3" fmla="*/ 1274941 w 1279613"/>
                <a:gd name="connsiteY3" fmla="*/ 0 h 770965"/>
                <a:gd name="connsiteX4" fmla="*/ 1279613 w 1279613"/>
                <a:gd name="connsiteY4" fmla="*/ 4672 h 770965"/>
                <a:gd name="connsiteX5" fmla="*/ 1279613 w 1279613"/>
                <a:gd name="connsiteY5" fmla="*/ 385483 h 770965"/>
                <a:gd name="connsiteX6" fmla="*/ 1279613 w 1279613"/>
                <a:gd name="connsiteY6" fmla="*/ 766293 h 770965"/>
                <a:gd name="connsiteX7" fmla="*/ 1274941 w 1279613"/>
                <a:gd name="connsiteY7" fmla="*/ 770965 h 770965"/>
                <a:gd name="connsiteX8" fmla="*/ 652509 w 1279613"/>
                <a:gd name="connsiteY8" fmla="*/ 770965 h 770965"/>
                <a:gd name="connsiteX9" fmla="*/ 4672 w 1279613"/>
                <a:gd name="connsiteY9" fmla="*/ 770965 h 770965"/>
                <a:gd name="connsiteX10" fmla="*/ 0 w 1279613"/>
                <a:gd name="connsiteY10" fmla="*/ 766293 h 770965"/>
                <a:gd name="connsiteX11" fmla="*/ 0 w 1279613"/>
                <a:gd name="connsiteY11" fmla="*/ 385483 h 770965"/>
                <a:gd name="connsiteX12" fmla="*/ 0 w 1279613"/>
                <a:gd name="connsiteY12" fmla="*/ 4672 h 77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9613" h="770965" fill="none" extrusionOk="0">
                  <a:moveTo>
                    <a:pt x="0" y="4672"/>
                  </a:moveTo>
                  <a:cubicBezTo>
                    <a:pt x="-109" y="2110"/>
                    <a:pt x="1861" y="64"/>
                    <a:pt x="4672" y="0"/>
                  </a:cubicBezTo>
                  <a:cubicBezTo>
                    <a:pt x="168378" y="14292"/>
                    <a:pt x="519265" y="-19746"/>
                    <a:pt x="652509" y="0"/>
                  </a:cubicBezTo>
                  <a:cubicBezTo>
                    <a:pt x="785753" y="19746"/>
                    <a:pt x="1121813" y="4644"/>
                    <a:pt x="1274941" y="0"/>
                  </a:cubicBezTo>
                  <a:cubicBezTo>
                    <a:pt x="1277888" y="-41"/>
                    <a:pt x="1279345" y="2525"/>
                    <a:pt x="1279613" y="4672"/>
                  </a:cubicBezTo>
                  <a:cubicBezTo>
                    <a:pt x="1264663" y="152314"/>
                    <a:pt x="1285670" y="257041"/>
                    <a:pt x="1279613" y="385483"/>
                  </a:cubicBezTo>
                  <a:cubicBezTo>
                    <a:pt x="1273556" y="513925"/>
                    <a:pt x="1294810" y="584968"/>
                    <a:pt x="1279613" y="766293"/>
                  </a:cubicBezTo>
                  <a:cubicBezTo>
                    <a:pt x="1279786" y="769422"/>
                    <a:pt x="1277390" y="771213"/>
                    <a:pt x="1274941" y="770965"/>
                  </a:cubicBezTo>
                  <a:cubicBezTo>
                    <a:pt x="1080345" y="778933"/>
                    <a:pt x="821787" y="771430"/>
                    <a:pt x="652509" y="770965"/>
                  </a:cubicBezTo>
                  <a:cubicBezTo>
                    <a:pt x="483231" y="770500"/>
                    <a:pt x="221454" y="799350"/>
                    <a:pt x="4672" y="770965"/>
                  </a:cubicBezTo>
                  <a:cubicBezTo>
                    <a:pt x="2270" y="770820"/>
                    <a:pt x="421" y="768885"/>
                    <a:pt x="0" y="766293"/>
                  </a:cubicBezTo>
                  <a:cubicBezTo>
                    <a:pt x="-15731" y="604756"/>
                    <a:pt x="12932" y="549474"/>
                    <a:pt x="0" y="385483"/>
                  </a:cubicBezTo>
                  <a:cubicBezTo>
                    <a:pt x="-12932" y="221492"/>
                    <a:pt x="-7049" y="162498"/>
                    <a:pt x="0" y="4672"/>
                  </a:cubicBezTo>
                  <a:close/>
                </a:path>
                <a:path w="1279613" h="770965" stroke="0" extrusionOk="0">
                  <a:moveTo>
                    <a:pt x="0" y="4672"/>
                  </a:moveTo>
                  <a:cubicBezTo>
                    <a:pt x="-24" y="1737"/>
                    <a:pt x="2174" y="-249"/>
                    <a:pt x="4672" y="0"/>
                  </a:cubicBezTo>
                  <a:cubicBezTo>
                    <a:pt x="151534" y="27786"/>
                    <a:pt x="454337" y="-19518"/>
                    <a:pt x="614401" y="0"/>
                  </a:cubicBezTo>
                  <a:cubicBezTo>
                    <a:pt x="774465" y="19518"/>
                    <a:pt x="1037887" y="-6955"/>
                    <a:pt x="1274941" y="0"/>
                  </a:cubicBezTo>
                  <a:cubicBezTo>
                    <a:pt x="1277771" y="458"/>
                    <a:pt x="1279613" y="2158"/>
                    <a:pt x="1279613" y="4672"/>
                  </a:cubicBezTo>
                  <a:cubicBezTo>
                    <a:pt x="1274234" y="113782"/>
                    <a:pt x="1286544" y="223303"/>
                    <a:pt x="1279613" y="370250"/>
                  </a:cubicBezTo>
                  <a:cubicBezTo>
                    <a:pt x="1272682" y="517197"/>
                    <a:pt x="1283027" y="646822"/>
                    <a:pt x="1279613" y="766293"/>
                  </a:cubicBezTo>
                  <a:cubicBezTo>
                    <a:pt x="1279764" y="768333"/>
                    <a:pt x="1277651" y="771255"/>
                    <a:pt x="1274941" y="770965"/>
                  </a:cubicBezTo>
                  <a:cubicBezTo>
                    <a:pt x="966478" y="751046"/>
                    <a:pt x="859191" y="772656"/>
                    <a:pt x="652509" y="770965"/>
                  </a:cubicBezTo>
                  <a:cubicBezTo>
                    <a:pt x="445827" y="769274"/>
                    <a:pt x="321349" y="746082"/>
                    <a:pt x="4672" y="770965"/>
                  </a:cubicBezTo>
                  <a:cubicBezTo>
                    <a:pt x="1908" y="771360"/>
                    <a:pt x="-147" y="769067"/>
                    <a:pt x="0" y="766293"/>
                  </a:cubicBezTo>
                  <a:cubicBezTo>
                    <a:pt x="12797" y="687860"/>
                    <a:pt x="-10327" y="485006"/>
                    <a:pt x="0" y="385483"/>
                  </a:cubicBezTo>
                  <a:cubicBezTo>
                    <a:pt x="10327" y="285960"/>
                    <a:pt x="406" y="92416"/>
                    <a:pt x="0" y="467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lgDash"/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606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Drag File Here Text">
              <a:extLst>
                <a:ext uri="{FF2B5EF4-FFF2-40B4-BE49-F238E27FC236}">
                  <a16:creationId xmlns:a16="http://schemas.microsoft.com/office/drawing/2014/main" id="{D73F464F-1DF2-49B4-998D-07E2DC4DF011}"/>
                </a:ext>
              </a:extLst>
            </p:cNvPr>
            <p:cNvSpPr txBox="1"/>
            <p:nvPr/>
          </p:nvSpPr>
          <p:spPr>
            <a:xfrm>
              <a:off x="7314328" y="8054877"/>
              <a:ext cx="914400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noAutofit/>
            </a:bodyPr>
            <a:lstStyle/>
            <a:p>
              <a:pPr algn="ctr"/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Drag File Here</a:t>
              </a:r>
            </a:p>
          </p:txBody>
        </p:sp>
      </p:grpSp>
      <p:grpSp>
        <p:nvGrpSpPr>
          <p:cNvPr id="162" name="Slider" descr="Slider">
            <a:extLst>
              <a:ext uri="{FF2B5EF4-FFF2-40B4-BE49-F238E27FC236}">
                <a16:creationId xmlns:a16="http://schemas.microsoft.com/office/drawing/2014/main" id="{BA907DE9-D76B-484B-B278-05A60D56DDAA}"/>
              </a:ext>
            </a:extLst>
          </p:cNvPr>
          <p:cNvGrpSpPr/>
          <p:nvPr/>
        </p:nvGrpSpPr>
        <p:grpSpPr>
          <a:xfrm>
            <a:off x="3287056" y="2851150"/>
            <a:ext cx="1723132" cy="152781"/>
            <a:chOff x="9040141" y="9776591"/>
            <a:chExt cx="1683357" cy="128016"/>
          </a:xfrm>
        </p:grpSpPr>
        <p:sp>
          <p:nvSpPr>
            <p:cNvPr id="163" name="Slider Background">
              <a:extLst>
                <a:ext uri="{FF2B5EF4-FFF2-40B4-BE49-F238E27FC236}">
                  <a16:creationId xmlns:a16="http://schemas.microsoft.com/office/drawing/2014/main" id="{BC6AEFA8-993C-4BA1-A59E-7ED295464CD0}"/>
                </a:ext>
              </a:extLst>
            </p:cNvPr>
            <p:cNvSpPr/>
            <p:nvPr/>
          </p:nvSpPr>
          <p:spPr>
            <a:xfrm>
              <a:off x="9040982" y="9811524"/>
              <a:ext cx="1682516" cy="54864"/>
            </a:xfrm>
            <a:custGeom>
              <a:avLst/>
              <a:gdLst>
                <a:gd name="connsiteX0" fmla="*/ 0 w 1682516"/>
                <a:gd name="connsiteY0" fmla="*/ 27432 h 54864"/>
                <a:gd name="connsiteX1" fmla="*/ 27432 w 1682516"/>
                <a:gd name="connsiteY1" fmla="*/ 0 h 54864"/>
                <a:gd name="connsiteX2" fmla="*/ 602536 w 1682516"/>
                <a:gd name="connsiteY2" fmla="*/ 0 h 54864"/>
                <a:gd name="connsiteX3" fmla="*/ 1177639 w 1682516"/>
                <a:gd name="connsiteY3" fmla="*/ 0 h 54864"/>
                <a:gd name="connsiteX4" fmla="*/ 1655084 w 1682516"/>
                <a:gd name="connsiteY4" fmla="*/ 0 h 54864"/>
                <a:gd name="connsiteX5" fmla="*/ 1682516 w 1682516"/>
                <a:gd name="connsiteY5" fmla="*/ 27432 h 54864"/>
                <a:gd name="connsiteX6" fmla="*/ 1682516 w 1682516"/>
                <a:gd name="connsiteY6" fmla="*/ 27432 h 54864"/>
                <a:gd name="connsiteX7" fmla="*/ 1655084 w 1682516"/>
                <a:gd name="connsiteY7" fmla="*/ 54864 h 54864"/>
                <a:gd name="connsiteX8" fmla="*/ 1161363 w 1682516"/>
                <a:gd name="connsiteY8" fmla="*/ 54864 h 54864"/>
                <a:gd name="connsiteX9" fmla="*/ 586259 w 1682516"/>
                <a:gd name="connsiteY9" fmla="*/ 54864 h 54864"/>
                <a:gd name="connsiteX10" fmla="*/ 27432 w 1682516"/>
                <a:gd name="connsiteY10" fmla="*/ 54864 h 54864"/>
                <a:gd name="connsiteX11" fmla="*/ 0 w 1682516"/>
                <a:gd name="connsiteY11" fmla="*/ 27432 h 54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2516" h="54864" fill="none" extrusionOk="0">
                  <a:moveTo>
                    <a:pt x="0" y="27432"/>
                  </a:moveTo>
                  <a:cubicBezTo>
                    <a:pt x="263" y="15011"/>
                    <a:pt x="14036" y="2701"/>
                    <a:pt x="27432" y="0"/>
                  </a:cubicBezTo>
                  <a:cubicBezTo>
                    <a:pt x="210825" y="3674"/>
                    <a:pt x="409597" y="-1890"/>
                    <a:pt x="602536" y="0"/>
                  </a:cubicBezTo>
                  <a:cubicBezTo>
                    <a:pt x="795475" y="1890"/>
                    <a:pt x="976802" y="14985"/>
                    <a:pt x="1177639" y="0"/>
                  </a:cubicBezTo>
                  <a:cubicBezTo>
                    <a:pt x="1378476" y="-14985"/>
                    <a:pt x="1485912" y="3088"/>
                    <a:pt x="1655084" y="0"/>
                  </a:cubicBezTo>
                  <a:cubicBezTo>
                    <a:pt x="1668832" y="-2095"/>
                    <a:pt x="1681700" y="15352"/>
                    <a:pt x="1682516" y="27432"/>
                  </a:cubicBezTo>
                  <a:lnTo>
                    <a:pt x="1682516" y="27432"/>
                  </a:lnTo>
                  <a:cubicBezTo>
                    <a:pt x="1681756" y="40295"/>
                    <a:pt x="1672429" y="54418"/>
                    <a:pt x="1655084" y="54864"/>
                  </a:cubicBezTo>
                  <a:cubicBezTo>
                    <a:pt x="1497790" y="52206"/>
                    <a:pt x="1264831" y="48645"/>
                    <a:pt x="1161363" y="54864"/>
                  </a:cubicBezTo>
                  <a:cubicBezTo>
                    <a:pt x="1057895" y="61083"/>
                    <a:pt x="729036" y="64864"/>
                    <a:pt x="586259" y="54864"/>
                  </a:cubicBezTo>
                  <a:cubicBezTo>
                    <a:pt x="443482" y="44864"/>
                    <a:pt x="274959" y="42407"/>
                    <a:pt x="27432" y="54864"/>
                  </a:cubicBezTo>
                  <a:cubicBezTo>
                    <a:pt x="13189" y="56660"/>
                    <a:pt x="-1137" y="43182"/>
                    <a:pt x="0" y="27432"/>
                  </a:cubicBezTo>
                  <a:close/>
                </a:path>
                <a:path w="1682516" h="54864" stroke="0" extrusionOk="0">
                  <a:moveTo>
                    <a:pt x="0" y="27432"/>
                  </a:moveTo>
                  <a:cubicBezTo>
                    <a:pt x="-328" y="12080"/>
                    <a:pt x="11229" y="395"/>
                    <a:pt x="27432" y="0"/>
                  </a:cubicBezTo>
                  <a:cubicBezTo>
                    <a:pt x="288430" y="-21545"/>
                    <a:pt x="420188" y="-8768"/>
                    <a:pt x="602536" y="0"/>
                  </a:cubicBezTo>
                  <a:cubicBezTo>
                    <a:pt x="784884" y="8768"/>
                    <a:pt x="1021528" y="-18315"/>
                    <a:pt x="1128810" y="0"/>
                  </a:cubicBezTo>
                  <a:cubicBezTo>
                    <a:pt x="1236092" y="18315"/>
                    <a:pt x="1503586" y="24309"/>
                    <a:pt x="1655084" y="0"/>
                  </a:cubicBezTo>
                  <a:cubicBezTo>
                    <a:pt x="1669997" y="-763"/>
                    <a:pt x="1682854" y="11032"/>
                    <a:pt x="1682516" y="27432"/>
                  </a:cubicBezTo>
                  <a:lnTo>
                    <a:pt x="1682516" y="27432"/>
                  </a:lnTo>
                  <a:cubicBezTo>
                    <a:pt x="1680933" y="41544"/>
                    <a:pt x="1671001" y="53616"/>
                    <a:pt x="1655084" y="54864"/>
                  </a:cubicBezTo>
                  <a:cubicBezTo>
                    <a:pt x="1523476" y="72127"/>
                    <a:pt x="1319793" y="30964"/>
                    <a:pt x="1079980" y="54864"/>
                  </a:cubicBezTo>
                  <a:cubicBezTo>
                    <a:pt x="840167" y="78764"/>
                    <a:pt x="677306" y="47319"/>
                    <a:pt x="569983" y="54864"/>
                  </a:cubicBezTo>
                  <a:cubicBezTo>
                    <a:pt x="462660" y="62409"/>
                    <a:pt x="176556" y="42112"/>
                    <a:pt x="27432" y="54864"/>
                  </a:cubicBezTo>
                  <a:cubicBezTo>
                    <a:pt x="13331" y="55722"/>
                    <a:pt x="841" y="43834"/>
                    <a:pt x="0" y="27432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Slider Line">
              <a:extLst>
                <a:ext uri="{FF2B5EF4-FFF2-40B4-BE49-F238E27FC236}">
                  <a16:creationId xmlns:a16="http://schemas.microsoft.com/office/drawing/2014/main" id="{C7F814B9-5609-4AB8-B60D-EDD1788CFA78}"/>
                </a:ext>
              </a:extLst>
            </p:cNvPr>
            <p:cNvSpPr/>
            <p:nvPr/>
          </p:nvSpPr>
          <p:spPr>
            <a:xfrm>
              <a:off x="9040141" y="9809928"/>
              <a:ext cx="1071837" cy="55960"/>
            </a:xfrm>
            <a:custGeom>
              <a:avLst/>
              <a:gdLst>
                <a:gd name="connsiteX0" fmla="*/ 0 w 1071837"/>
                <a:gd name="connsiteY0" fmla="*/ 27980 h 55960"/>
                <a:gd name="connsiteX1" fmla="*/ 27980 w 1071837"/>
                <a:gd name="connsiteY1" fmla="*/ 0 h 55960"/>
                <a:gd name="connsiteX2" fmla="*/ 546077 w 1071837"/>
                <a:gd name="connsiteY2" fmla="*/ 0 h 55960"/>
                <a:gd name="connsiteX3" fmla="*/ 1043857 w 1071837"/>
                <a:gd name="connsiteY3" fmla="*/ 0 h 55960"/>
                <a:gd name="connsiteX4" fmla="*/ 1071837 w 1071837"/>
                <a:gd name="connsiteY4" fmla="*/ 27980 h 55960"/>
                <a:gd name="connsiteX5" fmla="*/ 1071837 w 1071837"/>
                <a:gd name="connsiteY5" fmla="*/ 27980 h 55960"/>
                <a:gd name="connsiteX6" fmla="*/ 1043857 w 1071837"/>
                <a:gd name="connsiteY6" fmla="*/ 55960 h 55960"/>
                <a:gd name="connsiteX7" fmla="*/ 566395 w 1071837"/>
                <a:gd name="connsiteY7" fmla="*/ 55960 h 55960"/>
                <a:gd name="connsiteX8" fmla="*/ 27980 w 1071837"/>
                <a:gd name="connsiteY8" fmla="*/ 55960 h 55960"/>
                <a:gd name="connsiteX9" fmla="*/ 0 w 1071837"/>
                <a:gd name="connsiteY9" fmla="*/ 27980 h 55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71837" h="55960" fill="none" extrusionOk="0">
                  <a:moveTo>
                    <a:pt x="0" y="27980"/>
                  </a:moveTo>
                  <a:cubicBezTo>
                    <a:pt x="1644" y="11917"/>
                    <a:pt x="12813" y="299"/>
                    <a:pt x="27980" y="0"/>
                  </a:cubicBezTo>
                  <a:cubicBezTo>
                    <a:pt x="270277" y="-7182"/>
                    <a:pt x="348831" y="-15900"/>
                    <a:pt x="546077" y="0"/>
                  </a:cubicBezTo>
                  <a:cubicBezTo>
                    <a:pt x="743323" y="15900"/>
                    <a:pt x="889059" y="-9530"/>
                    <a:pt x="1043857" y="0"/>
                  </a:cubicBezTo>
                  <a:cubicBezTo>
                    <a:pt x="1060242" y="926"/>
                    <a:pt x="1073421" y="14058"/>
                    <a:pt x="1071837" y="27980"/>
                  </a:cubicBezTo>
                  <a:lnTo>
                    <a:pt x="1071837" y="27980"/>
                  </a:lnTo>
                  <a:cubicBezTo>
                    <a:pt x="1070877" y="42464"/>
                    <a:pt x="1057155" y="58997"/>
                    <a:pt x="1043857" y="55960"/>
                  </a:cubicBezTo>
                  <a:cubicBezTo>
                    <a:pt x="852743" y="36346"/>
                    <a:pt x="782111" y="45234"/>
                    <a:pt x="566395" y="55960"/>
                  </a:cubicBezTo>
                  <a:cubicBezTo>
                    <a:pt x="350679" y="66686"/>
                    <a:pt x="215461" y="31690"/>
                    <a:pt x="27980" y="55960"/>
                  </a:cubicBezTo>
                  <a:cubicBezTo>
                    <a:pt x="11327" y="54838"/>
                    <a:pt x="848" y="40669"/>
                    <a:pt x="0" y="27980"/>
                  </a:cubicBezTo>
                  <a:close/>
                </a:path>
                <a:path w="1071837" h="55960" stroke="0" extrusionOk="0">
                  <a:moveTo>
                    <a:pt x="0" y="27980"/>
                  </a:moveTo>
                  <a:cubicBezTo>
                    <a:pt x="-1353" y="11749"/>
                    <a:pt x="12570" y="-1312"/>
                    <a:pt x="27980" y="0"/>
                  </a:cubicBezTo>
                  <a:cubicBezTo>
                    <a:pt x="210082" y="9500"/>
                    <a:pt x="296652" y="23027"/>
                    <a:pt x="556236" y="0"/>
                  </a:cubicBezTo>
                  <a:cubicBezTo>
                    <a:pt x="815820" y="-23027"/>
                    <a:pt x="918553" y="-842"/>
                    <a:pt x="1043857" y="0"/>
                  </a:cubicBezTo>
                  <a:cubicBezTo>
                    <a:pt x="1062010" y="2509"/>
                    <a:pt x="1072110" y="13141"/>
                    <a:pt x="1071837" y="27980"/>
                  </a:cubicBezTo>
                  <a:lnTo>
                    <a:pt x="1071837" y="27980"/>
                  </a:lnTo>
                  <a:cubicBezTo>
                    <a:pt x="1071953" y="44604"/>
                    <a:pt x="1056880" y="57889"/>
                    <a:pt x="1043857" y="55960"/>
                  </a:cubicBezTo>
                  <a:cubicBezTo>
                    <a:pt x="790602" y="68341"/>
                    <a:pt x="657542" y="36972"/>
                    <a:pt x="535919" y="55960"/>
                  </a:cubicBezTo>
                  <a:cubicBezTo>
                    <a:pt x="414296" y="74948"/>
                    <a:pt x="241776" y="65372"/>
                    <a:pt x="27980" y="55960"/>
                  </a:cubicBezTo>
                  <a:cubicBezTo>
                    <a:pt x="9961" y="55450"/>
                    <a:pt x="3329" y="42808"/>
                    <a:pt x="0" y="2798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  <a:extLst>
                <a:ext uri="{C807C97D-BFC1-408E-A445-0C87EB9F89A2}">
                  <ask:lineSketchStyleProps xmlns:ask="http://schemas.microsoft.com/office/drawing/2018/sketchyshapes" sd="782294884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Slider Button">
              <a:extLst>
                <a:ext uri="{FF2B5EF4-FFF2-40B4-BE49-F238E27FC236}">
                  <a16:creationId xmlns:a16="http://schemas.microsoft.com/office/drawing/2014/main" id="{26337220-2A2C-43DE-A09F-F2F850376A3B}"/>
                </a:ext>
              </a:extLst>
            </p:cNvPr>
            <p:cNvSpPr/>
            <p:nvPr/>
          </p:nvSpPr>
          <p:spPr>
            <a:xfrm>
              <a:off x="10032507" y="9776591"/>
              <a:ext cx="128016" cy="128016"/>
            </a:xfrm>
            <a:custGeom>
              <a:avLst/>
              <a:gdLst>
                <a:gd name="connsiteX0" fmla="*/ 0 w 128016"/>
                <a:gd name="connsiteY0" fmla="*/ 64008 h 128016"/>
                <a:gd name="connsiteX1" fmla="*/ 64008 w 128016"/>
                <a:gd name="connsiteY1" fmla="*/ 0 h 128016"/>
                <a:gd name="connsiteX2" fmla="*/ 128016 w 128016"/>
                <a:gd name="connsiteY2" fmla="*/ 64008 h 128016"/>
                <a:gd name="connsiteX3" fmla="*/ 64008 w 128016"/>
                <a:gd name="connsiteY3" fmla="*/ 128016 h 128016"/>
                <a:gd name="connsiteX4" fmla="*/ 0 w 128016"/>
                <a:gd name="connsiteY4" fmla="*/ 64008 h 12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16" h="128016" fill="none" extrusionOk="0">
                  <a:moveTo>
                    <a:pt x="0" y="64008"/>
                  </a:moveTo>
                  <a:cubicBezTo>
                    <a:pt x="176" y="30442"/>
                    <a:pt x="27806" y="676"/>
                    <a:pt x="64008" y="0"/>
                  </a:cubicBezTo>
                  <a:cubicBezTo>
                    <a:pt x="103017" y="6192"/>
                    <a:pt x="125044" y="28305"/>
                    <a:pt x="128016" y="64008"/>
                  </a:cubicBezTo>
                  <a:cubicBezTo>
                    <a:pt x="128690" y="101197"/>
                    <a:pt x="103070" y="134795"/>
                    <a:pt x="64008" y="128016"/>
                  </a:cubicBezTo>
                  <a:cubicBezTo>
                    <a:pt x="25495" y="127388"/>
                    <a:pt x="5968" y="98239"/>
                    <a:pt x="0" y="64008"/>
                  </a:cubicBezTo>
                  <a:close/>
                </a:path>
                <a:path w="128016" h="128016" stroke="0" extrusionOk="0">
                  <a:moveTo>
                    <a:pt x="0" y="64008"/>
                  </a:moveTo>
                  <a:cubicBezTo>
                    <a:pt x="-2406" y="27274"/>
                    <a:pt x="28770" y="-3453"/>
                    <a:pt x="64008" y="0"/>
                  </a:cubicBezTo>
                  <a:cubicBezTo>
                    <a:pt x="95673" y="-4909"/>
                    <a:pt x="124812" y="31387"/>
                    <a:pt x="128016" y="64008"/>
                  </a:cubicBezTo>
                  <a:cubicBezTo>
                    <a:pt x="134142" y="104610"/>
                    <a:pt x="98815" y="125310"/>
                    <a:pt x="64008" y="128016"/>
                  </a:cubicBezTo>
                  <a:cubicBezTo>
                    <a:pt x="34506" y="133452"/>
                    <a:pt x="780" y="101112"/>
                    <a:pt x="0" y="64008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  <a:extLst>
                <a:ext uri="{C807C97D-BFC1-408E-A445-0C87EB9F89A2}">
                  <ask:lineSketchStyleProps xmlns:ask="http://schemas.microsoft.com/office/drawing/2018/sketchyshapes" sd="782294884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6" name="Selected Outline Button">
            <a:extLst>
              <a:ext uri="{FF2B5EF4-FFF2-40B4-BE49-F238E27FC236}">
                <a16:creationId xmlns:a16="http://schemas.microsoft.com/office/drawing/2014/main" id="{D34D89DF-59C6-4215-AB8B-A06FC42CCC6F}"/>
              </a:ext>
            </a:extLst>
          </p:cNvPr>
          <p:cNvSpPr/>
          <p:nvPr/>
        </p:nvSpPr>
        <p:spPr>
          <a:xfrm>
            <a:off x="3262759" y="2447285"/>
            <a:ext cx="1213585" cy="236196"/>
          </a:xfrm>
          <a:custGeom>
            <a:avLst/>
            <a:gdLst>
              <a:gd name="connsiteX0" fmla="*/ 0 w 1213585"/>
              <a:gd name="connsiteY0" fmla="*/ 14840 h 236196"/>
              <a:gd name="connsiteX1" fmla="*/ 14840 w 1213585"/>
              <a:gd name="connsiteY1" fmla="*/ 0 h 236196"/>
              <a:gd name="connsiteX2" fmla="*/ 630471 w 1213585"/>
              <a:gd name="connsiteY2" fmla="*/ 0 h 236196"/>
              <a:gd name="connsiteX3" fmla="*/ 1198745 w 1213585"/>
              <a:gd name="connsiteY3" fmla="*/ 0 h 236196"/>
              <a:gd name="connsiteX4" fmla="*/ 1213585 w 1213585"/>
              <a:gd name="connsiteY4" fmla="*/ 14840 h 236196"/>
              <a:gd name="connsiteX5" fmla="*/ 1213585 w 1213585"/>
              <a:gd name="connsiteY5" fmla="*/ 221356 h 236196"/>
              <a:gd name="connsiteX6" fmla="*/ 1198745 w 1213585"/>
              <a:gd name="connsiteY6" fmla="*/ 236196 h 236196"/>
              <a:gd name="connsiteX7" fmla="*/ 606793 w 1213585"/>
              <a:gd name="connsiteY7" fmla="*/ 236196 h 236196"/>
              <a:gd name="connsiteX8" fmla="*/ 14840 w 1213585"/>
              <a:gd name="connsiteY8" fmla="*/ 236196 h 236196"/>
              <a:gd name="connsiteX9" fmla="*/ 0 w 1213585"/>
              <a:gd name="connsiteY9" fmla="*/ 221356 h 236196"/>
              <a:gd name="connsiteX10" fmla="*/ 0 w 1213585"/>
              <a:gd name="connsiteY10" fmla="*/ 14840 h 236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3585" h="236196" extrusionOk="0">
                <a:moveTo>
                  <a:pt x="0" y="14840"/>
                </a:moveTo>
                <a:cubicBezTo>
                  <a:pt x="-1153" y="5933"/>
                  <a:pt x="5044" y="600"/>
                  <a:pt x="14840" y="0"/>
                </a:cubicBezTo>
                <a:cubicBezTo>
                  <a:pt x="245764" y="-17497"/>
                  <a:pt x="470524" y="1026"/>
                  <a:pt x="630471" y="0"/>
                </a:cubicBezTo>
                <a:cubicBezTo>
                  <a:pt x="790418" y="-1026"/>
                  <a:pt x="1043067" y="-11074"/>
                  <a:pt x="1198745" y="0"/>
                </a:cubicBezTo>
                <a:cubicBezTo>
                  <a:pt x="1205320" y="-887"/>
                  <a:pt x="1214164" y="6921"/>
                  <a:pt x="1213585" y="14840"/>
                </a:cubicBezTo>
                <a:cubicBezTo>
                  <a:pt x="1207032" y="58950"/>
                  <a:pt x="1216942" y="137827"/>
                  <a:pt x="1213585" y="221356"/>
                </a:cubicBezTo>
                <a:cubicBezTo>
                  <a:pt x="1213956" y="228948"/>
                  <a:pt x="1205922" y="237091"/>
                  <a:pt x="1198745" y="236196"/>
                </a:cubicBezTo>
                <a:cubicBezTo>
                  <a:pt x="1004547" y="215178"/>
                  <a:pt x="876034" y="254971"/>
                  <a:pt x="606793" y="236196"/>
                </a:cubicBezTo>
                <a:cubicBezTo>
                  <a:pt x="337552" y="217421"/>
                  <a:pt x="136590" y="254137"/>
                  <a:pt x="14840" y="236196"/>
                </a:cubicBezTo>
                <a:cubicBezTo>
                  <a:pt x="4960" y="236100"/>
                  <a:pt x="124" y="229213"/>
                  <a:pt x="0" y="221356"/>
                </a:cubicBezTo>
                <a:cubicBezTo>
                  <a:pt x="-2853" y="160489"/>
                  <a:pt x="9699" y="105884"/>
                  <a:pt x="0" y="14840"/>
                </a:cubicBezTo>
                <a:close/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bg1">
                    <a:lumMod val="75000"/>
                  </a:schemeClr>
                </a:solidFill>
              </a:rPr>
              <a:t>Button</a:t>
            </a:r>
          </a:p>
        </p:txBody>
      </p:sp>
      <p:sp>
        <p:nvSpPr>
          <p:cNvPr id="167" name="Outline Button">
            <a:extLst>
              <a:ext uri="{FF2B5EF4-FFF2-40B4-BE49-F238E27FC236}">
                <a16:creationId xmlns:a16="http://schemas.microsoft.com/office/drawing/2014/main" id="{F625316A-5604-44A0-A557-150A014AE715}"/>
              </a:ext>
            </a:extLst>
          </p:cNvPr>
          <p:cNvSpPr/>
          <p:nvPr/>
        </p:nvSpPr>
        <p:spPr>
          <a:xfrm>
            <a:off x="3262759" y="2144952"/>
            <a:ext cx="1213585" cy="236196"/>
          </a:xfrm>
          <a:custGeom>
            <a:avLst/>
            <a:gdLst>
              <a:gd name="connsiteX0" fmla="*/ 0 w 1213585"/>
              <a:gd name="connsiteY0" fmla="*/ 14840 h 236196"/>
              <a:gd name="connsiteX1" fmla="*/ 14840 w 1213585"/>
              <a:gd name="connsiteY1" fmla="*/ 0 h 236196"/>
              <a:gd name="connsiteX2" fmla="*/ 630471 w 1213585"/>
              <a:gd name="connsiteY2" fmla="*/ 0 h 236196"/>
              <a:gd name="connsiteX3" fmla="*/ 1198745 w 1213585"/>
              <a:gd name="connsiteY3" fmla="*/ 0 h 236196"/>
              <a:gd name="connsiteX4" fmla="*/ 1213585 w 1213585"/>
              <a:gd name="connsiteY4" fmla="*/ 14840 h 236196"/>
              <a:gd name="connsiteX5" fmla="*/ 1213585 w 1213585"/>
              <a:gd name="connsiteY5" fmla="*/ 221356 h 236196"/>
              <a:gd name="connsiteX6" fmla="*/ 1198745 w 1213585"/>
              <a:gd name="connsiteY6" fmla="*/ 236196 h 236196"/>
              <a:gd name="connsiteX7" fmla="*/ 606793 w 1213585"/>
              <a:gd name="connsiteY7" fmla="*/ 236196 h 236196"/>
              <a:gd name="connsiteX8" fmla="*/ 14840 w 1213585"/>
              <a:gd name="connsiteY8" fmla="*/ 236196 h 236196"/>
              <a:gd name="connsiteX9" fmla="*/ 0 w 1213585"/>
              <a:gd name="connsiteY9" fmla="*/ 221356 h 236196"/>
              <a:gd name="connsiteX10" fmla="*/ 0 w 1213585"/>
              <a:gd name="connsiteY10" fmla="*/ 14840 h 236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3585" h="236196" extrusionOk="0">
                <a:moveTo>
                  <a:pt x="0" y="14840"/>
                </a:moveTo>
                <a:cubicBezTo>
                  <a:pt x="-1153" y="5933"/>
                  <a:pt x="5044" y="600"/>
                  <a:pt x="14840" y="0"/>
                </a:cubicBezTo>
                <a:cubicBezTo>
                  <a:pt x="245764" y="-17497"/>
                  <a:pt x="470524" y="1026"/>
                  <a:pt x="630471" y="0"/>
                </a:cubicBezTo>
                <a:cubicBezTo>
                  <a:pt x="790418" y="-1026"/>
                  <a:pt x="1043067" y="-11074"/>
                  <a:pt x="1198745" y="0"/>
                </a:cubicBezTo>
                <a:cubicBezTo>
                  <a:pt x="1205320" y="-887"/>
                  <a:pt x="1214164" y="6921"/>
                  <a:pt x="1213585" y="14840"/>
                </a:cubicBezTo>
                <a:cubicBezTo>
                  <a:pt x="1207032" y="58950"/>
                  <a:pt x="1216942" y="137827"/>
                  <a:pt x="1213585" y="221356"/>
                </a:cubicBezTo>
                <a:cubicBezTo>
                  <a:pt x="1213956" y="228948"/>
                  <a:pt x="1205922" y="237091"/>
                  <a:pt x="1198745" y="236196"/>
                </a:cubicBezTo>
                <a:cubicBezTo>
                  <a:pt x="1004547" y="215178"/>
                  <a:pt x="876034" y="254971"/>
                  <a:pt x="606793" y="236196"/>
                </a:cubicBezTo>
                <a:cubicBezTo>
                  <a:pt x="337552" y="217421"/>
                  <a:pt x="136590" y="254137"/>
                  <a:pt x="14840" y="236196"/>
                </a:cubicBezTo>
                <a:cubicBezTo>
                  <a:pt x="4960" y="236100"/>
                  <a:pt x="124" y="229213"/>
                  <a:pt x="0" y="221356"/>
                </a:cubicBezTo>
                <a:cubicBezTo>
                  <a:pt x="-2853" y="160489"/>
                  <a:pt x="9699" y="105884"/>
                  <a:pt x="0" y="14840"/>
                </a:cubicBezTo>
                <a:close/>
              </a:path>
            </a:pathLst>
          </a:custGeom>
          <a:noFill/>
          <a:ln>
            <a:solidFill>
              <a:schemeClr val="tx1">
                <a:lumMod val="75000"/>
                <a:lumOff val="2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tx1">
                    <a:lumMod val="75000"/>
                    <a:lumOff val="25000"/>
                  </a:schemeClr>
                </a:solidFill>
              </a:rPr>
              <a:t>Button</a:t>
            </a:r>
          </a:p>
        </p:txBody>
      </p:sp>
      <p:sp>
        <p:nvSpPr>
          <p:cNvPr id="168" name="Selected Button">
            <a:extLst>
              <a:ext uri="{FF2B5EF4-FFF2-40B4-BE49-F238E27FC236}">
                <a16:creationId xmlns:a16="http://schemas.microsoft.com/office/drawing/2014/main" id="{CE650C2B-E83D-42FC-B916-EFF5FC36B24E}"/>
              </a:ext>
            </a:extLst>
          </p:cNvPr>
          <p:cNvSpPr/>
          <p:nvPr/>
        </p:nvSpPr>
        <p:spPr>
          <a:xfrm>
            <a:off x="3262760" y="1855220"/>
            <a:ext cx="1213585" cy="236196"/>
          </a:xfrm>
          <a:custGeom>
            <a:avLst/>
            <a:gdLst>
              <a:gd name="connsiteX0" fmla="*/ 0 w 1213585"/>
              <a:gd name="connsiteY0" fmla="*/ 14840 h 236196"/>
              <a:gd name="connsiteX1" fmla="*/ 14840 w 1213585"/>
              <a:gd name="connsiteY1" fmla="*/ 0 h 236196"/>
              <a:gd name="connsiteX2" fmla="*/ 606793 w 1213585"/>
              <a:gd name="connsiteY2" fmla="*/ 0 h 236196"/>
              <a:gd name="connsiteX3" fmla="*/ 1198745 w 1213585"/>
              <a:gd name="connsiteY3" fmla="*/ 0 h 236196"/>
              <a:gd name="connsiteX4" fmla="*/ 1213585 w 1213585"/>
              <a:gd name="connsiteY4" fmla="*/ 14840 h 236196"/>
              <a:gd name="connsiteX5" fmla="*/ 1213585 w 1213585"/>
              <a:gd name="connsiteY5" fmla="*/ 221356 h 236196"/>
              <a:gd name="connsiteX6" fmla="*/ 1198745 w 1213585"/>
              <a:gd name="connsiteY6" fmla="*/ 236196 h 236196"/>
              <a:gd name="connsiteX7" fmla="*/ 594953 w 1213585"/>
              <a:gd name="connsiteY7" fmla="*/ 236196 h 236196"/>
              <a:gd name="connsiteX8" fmla="*/ 14840 w 1213585"/>
              <a:gd name="connsiteY8" fmla="*/ 236196 h 236196"/>
              <a:gd name="connsiteX9" fmla="*/ 0 w 1213585"/>
              <a:gd name="connsiteY9" fmla="*/ 221356 h 236196"/>
              <a:gd name="connsiteX10" fmla="*/ 0 w 1213585"/>
              <a:gd name="connsiteY10" fmla="*/ 14840 h 236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3585" h="236196" fill="none" extrusionOk="0">
                <a:moveTo>
                  <a:pt x="0" y="14840"/>
                </a:moveTo>
                <a:cubicBezTo>
                  <a:pt x="711" y="7515"/>
                  <a:pt x="6911" y="-234"/>
                  <a:pt x="14840" y="0"/>
                </a:cubicBezTo>
                <a:cubicBezTo>
                  <a:pt x="273710" y="17988"/>
                  <a:pt x="453486" y="-11083"/>
                  <a:pt x="606793" y="0"/>
                </a:cubicBezTo>
                <a:cubicBezTo>
                  <a:pt x="760100" y="11083"/>
                  <a:pt x="913693" y="-18955"/>
                  <a:pt x="1198745" y="0"/>
                </a:cubicBezTo>
                <a:cubicBezTo>
                  <a:pt x="1206594" y="-707"/>
                  <a:pt x="1213624" y="6111"/>
                  <a:pt x="1213585" y="14840"/>
                </a:cubicBezTo>
                <a:cubicBezTo>
                  <a:pt x="1214479" y="110517"/>
                  <a:pt x="1213042" y="132156"/>
                  <a:pt x="1213585" y="221356"/>
                </a:cubicBezTo>
                <a:cubicBezTo>
                  <a:pt x="1212929" y="229579"/>
                  <a:pt x="1207270" y="235604"/>
                  <a:pt x="1198745" y="236196"/>
                </a:cubicBezTo>
                <a:cubicBezTo>
                  <a:pt x="930356" y="215815"/>
                  <a:pt x="798157" y="251706"/>
                  <a:pt x="594953" y="236196"/>
                </a:cubicBezTo>
                <a:cubicBezTo>
                  <a:pt x="391749" y="220686"/>
                  <a:pt x="194877" y="224430"/>
                  <a:pt x="14840" y="236196"/>
                </a:cubicBezTo>
                <a:cubicBezTo>
                  <a:pt x="6625" y="235671"/>
                  <a:pt x="325" y="229620"/>
                  <a:pt x="0" y="221356"/>
                </a:cubicBezTo>
                <a:cubicBezTo>
                  <a:pt x="3283" y="168239"/>
                  <a:pt x="-1559" y="112777"/>
                  <a:pt x="0" y="14840"/>
                </a:cubicBezTo>
                <a:close/>
              </a:path>
              <a:path w="1213585" h="236196" stroke="0" extrusionOk="0">
                <a:moveTo>
                  <a:pt x="0" y="14840"/>
                </a:moveTo>
                <a:cubicBezTo>
                  <a:pt x="-1153" y="5933"/>
                  <a:pt x="5044" y="600"/>
                  <a:pt x="14840" y="0"/>
                </a:cubicBezTo>
                <a:cubicBezTo>
                  <a:pt x="245764" y="-17497"/>
                  <a:pt x="470524" y="1026"/>
                  <a:pt x="630471" y="0"/>
                </a:cubicBezTo>
                <a:cubicBezTo>
                  <a:pt x="790418" y="-1026"/>
                  <a:pt x="1043067" y="-11074"/>
                  <a:pt x="1198745" y="0"/>
                </a:cubicBezTo>
                <a:cubicBezTo>
                  <a:pt x="1205320" y="-887"/>
                  <a:pt x="1214164" y="6921"/>
                  <a:pt x="1213585" y="14840"/>
                </a:cubicBezTo>
                <a:cubicBezTo>
                  <a:pt x="1207032" y="58950"/>
                  <a:pt x="1216942" y="137827"/>
                  <a:pt x="1213585" y="221356"/>
                </a:cubicBezTo>
                <a:cubicBezTo>
                  <a:pt x="1213956" y="228948"/>
                  <a:pt x="1205922" y="237091"/>
                  <a:pt x="1198745" y="236196"/>
                </a:cubicBezTo>
                <a:cubicBezTo>
                  <a:pt x="1004547" y="215178"/>
                  <a:pt x="876034" y="254971"/>
                  <a:pt x="606793" y="236196"/>
                </a:cubicBezTo>
                <a:cubicBezTo>
                  <a:pt x="337552" y="217421"/>
                  <a:pt x="136590" y="254137"/>
                  <a:pt x="14840" y="236196"/>
                </a:cubicBezTo>
                <a:cubicBezTo>
                  <a:pt x="4960" y="236100"/>
                  <a:pt x="124" y="229213"/>
                  <a:pt x="0" y="221356"/>
                </a:cubicBezTo>
                <a:cubicBezTo>
                  <a:pt x="-2853" y="160489"/>
                  <a:pt x="9699" y="105884"/>
                  <a:pt x="0" y="1484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D9D9D9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tton</a:t>
            </a:r>
          </a:p>
        </p:txBody>
      </p:sp>
      <p:sp>
        <p:nvSpPr>
          <p:cNvPr id="169" name="Button">
            <a:extLst>
              <a:ext uri="{FF2B5EF4-FFF2-40B4-BE49-F238E27FC236}">
                <a16:creationId xmlns:a16="http://schemas.microsoft.com/office/drawing/2014/main" id="{85E24068-3640-40F6-BB77-8F39B4CA3520}"/>
              </a:ext>
            </a:extLst>
          </p:cNvPr>
          <p:cNvSpPr/>
          <p:nvPr/>
        </p:nvSpPr>
        <p:spPr>
          <a:xfrm>
            <a:off x="3262762" y="1560790"/>
            <a:ext cx="1216152" cy="240894"/>
          </a:xfrm>
          <a:custGeom>
            <a:avLst/>
            <a:gdLst>
              <a:gd name="connsiteX0" fmla="*/ 0 w 1216152"/>
              <a:gd name="connsiteY0" fmla="*/ 15135 h 240894"/>
              <a:gd name="connsiteX1" fmla="*/ 15135 w 1216152"/>
              <a:gd name="connsiteY1" fmla="*/ 0 h 240894"/>
              <a:gd name="connsiteX2" fmla="*/ 608076 w 1216152"/>
              <a:gd name="connsiteY2" fmla="*/ 0 h 240894"/>
              <a:gd name="connsiteX3" fmla="*/ 1201017 w 1216152"/>
              <a:gd name="connsiteY3" fmla="*/ 0 h 240894"/>
              <a:gd name="connsiteX4" fmla="*/ 1216152 w 1216152"/>
              <a:gd name="connsiteY4" fmla="*/ 15135 h 240894"/>
              <a:gd name="connsiteX5" fmla="*/ 1216152 w 1216152"/>
              <a:gd name="connsiteY5" fmla="*/ 225759 h 240894"/>
              <a:gd name="connsiteX6" fmla="*/ 1201017 w 1216152"/>
              <a:gd name="connsiteY6" fmla="*/ 240894 h 240894"/>
              <a:gd name="connsiteX7" fmla="*/ 643652 w 1216152"/>
              <a:gd name="connsiteY7" fmla="*/ 240894 h 240894"/>
              <a:gd name="connsiteX8" fmla="*/ 15135 w 1216152"/>
              <a:gd name="connsiteY8" fmla="*/ 240894 h 240894"/>
              <a:gd name="connsiteX9" fmla="*/ 0 w 1216152"/>
              <a:gd name="connsiteY9" fmla="*/ 225759 h 240894"/>
              <a:gd name="connsiteX10" fmla="*/ 0 w 1216152"/>
              <a:gd name="connsiteY10" fmla="*/ 15135 h 240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6152" h="240894" fill="none" extrusionOk="0">
                <a:moveTo>
                  <a:pt x="0" y="15135"/>
                </a:moveTo>
                <a:cubicBezTo>
                  <a:pt x="-639" y="6668"/>
                  <a:pt x="7436" y="-715"/>
                  <a:pt x="15135" y="0"/>
                </a:cubicBezTo>
                <a:cubicBezTo>
                  <a:pt x="229944" y="-16142"/>
                  <a:pt x="487875" y="-3658"/>
                  <a:pt x="608076" y="0"/>
                </a:cubicBezTo>
                <a:cubicBezTo>
                  <a:pt x="728277" y="3658"/>
                  <a:pt x="949924" y="12266"/>
                  <a:pt x="1201017" y="0"/>
                </a:cubicBezTo>
                <a:cubicBezTo>
                  <a:pt x="1209555" y="143"/>
                  <a:pt x="1214875" y="6026"/>
                  <a:pt x="1216152" y="15135"/>
                </a:cubicBezTo>
                <a:cubicBezTo>
                  <a:pt x="1207408" y="100234"/>
                  <a:pt x="1225302" y="156023"/>
                  <a:pt x="1216152" y="225759"/>
                </a:cubicBezTo>
                <a:cubicBezTo>
                  <a:pt x="1216881" y="234480"/>
                  <a:pt x="1209035" y="240489"/>
                  <a:pt x="1201017" y="240894"/>
                </a:cubicBezTo>
                <a:cubicBezTo>
                  <a:pt x="978557" y="234754"/>
                  <a:pt x="904480" y="234404"/>
                  <a:pt x="643652" y="240894"/>
                </a:cubicBezTo>
                <a:cubicBezTo>
                  <a:pt x="382825" y="247384"/>
                  <a:pt x="216866" y="244167"/>
                  <a:pt x="15135" y="240894"/>
                </a:cubicBezTo>
                <a:cubicBezTo>
                  <a:pt x="5932" y="239407"/>
                  <a:pt x="604" y="235468"/>
                  <a:pt x="0" y="225759"/>
                </a:cubicBezTo>
                <a:cubicBezTo>
                  <a:pt x="998" y="145450"/>
                  <a:pt x="-3344" y="100858"/>
                  <a:pt x="0" y="15135"/>
                </a:cubicBezTo>
                <a:close/>
              </a:path>
              <a:path w="1216152" h="240894" stroke="0" extrusionOk="0">
                <a:moveTo>
                  <a:pt x="0" y="15135"/>
                </a:moveTo>
                <a:cubicBezTo>
                  <a:pt x="177" y="6901"/>
                  <a:pt x="7796" y="452"/>
                  <a:pt x="15135" y="0"/>
                </a:cubicBezTo>
                <a:cubicBezTo>
                  <a:pt x="147063" y="-28318"/>
                  <a:pt x="370193" y="18771"/>
                  <a:pt x="619935" y="0"/>
                </a:cubicBezTo>
                <a:cubicBezTo>
                  <a:pt x="869677" y="-18771"/>
                  <a:pt x="1058604" y="6156"/>
                  <a:pt x="1201017" y="0"/>
                </a:cubicBezTo>
                <a:cubicBezTo>
                  <a:pt x="1208830" y="-507"/>
                  <a:pt x="1215986" y="7095"/>
                  <a:pt x="1216152" y="15135"/>
                </a:cubicBezTo>
                <a:cubicBezTo>
                  <a:pt x="1225655" y="93195"/>
                  <a:pt x="1225768" y="124941"/>
                  <a:pt x="1216152" y="225759"/>
                </a:cubicBezTo>
                <a:cubicBezTo>
                  <a:pt x="1215535" y="232662"/>
                  <a:pt x="1211049" y="241393"/>
                  <a:pt x="1201017" y="240894"/>
                </a:cubicBezTo>
                <a:cubicBezTo>
                  <a:pt x="994349" y="236423"/>
                  <a:pt x="728174" y="237544"/>
                  <a:pt x="596217" y="240894"/>
                </a:cubicBezTo>
                <a:cubicBezTo>
                  <a:pt x="464260" y="244244"/>
                  <a:pt x="201676" y="242850"/>
                  <a:pt x="15135" y="240894"/>
                </a:cubicBezTo>
                <a:cubicBezTo>
                  <a:pt x="5815" y="240244"/>
                  <a:pt x="-690" y="234333"/>
                  <a:pt x="0" y="225759"/>
                </a:cubicBezTo>
                <a:cubicBezTo>
                  <a:pt x="8036" y="149301"/>
                  <a:pt x="-4385" y="110036"/>
                  <a:pt x="0" y="15135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solidFill>
              <a:srgbClr val="404040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3520093239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bg1"/>
                </a:solidFill>
              </a:rPr>
              <a:t>Button</a:t>
            </a:r>
          </a:p>
        </p:txBody>
      </p:sp>
      <p:grpSp>
        <p:nvGrpSpPr>
          <p:cNvPr id="173" name="Submit Bar" descr="Type and submit bar">
            <a:extLst>
              <a:ext uri="{FF2B5EF4-FFF2-40B4-BE49-F238E27FC236}">
                <a16:creationId xmlns:a16="http://schemas.microsoft.com/office/drawing/2014/main" id="{8639D831-C717-4510-8BB2-E9BED375641C}"/>
              </a:ext>
            </a:extLst>
          </p:cNvPr>
          <p:cNvGrpSpPr/>
          <p:nvPr/>
        </p:nvGrpSpPr>
        <p:grpSpPr>
          <a:xfrm>
            <a:off x="497282" y="5129070"/>
            <a:ext cx="2790296" cy="223159"/>
            <a:chOff x="314422" y="4283541"/>
            <a:chExt cx="2790296" cy="223159"/>
          </a:xfrm>
        </p:grpSpPr>
        <p:sp>
          <p:nvSpPr>
            <p:cNvPr id="177" name="Submit Bar Background">
              <a:extLst>
                <a:ext uri="{FF2B5EF4-FFF2-40B4-BE49-F238E27FC236}">
                  <a16:creationId xmlns:a16="http://schemas.microsoft.com/office/drawing/2014/main" id="{65DDA437-0756-4C3A-8E81-4030C73E80FB}"/>
                </a:ext>
              </a:extLst>
            </p:cNvPr>
            <p:cNvSpPr/>
            <p:nvPr/>
          </p:nvSpPr>
          <p:spPr>
            <a:xfrm>
              <a:off x="316214" y="4284076"/>
              <a:ext cx="2787982" cy="222624"/>
            </a:xfrm>
            <a:custGeom>
              <a:avLst/>
              <a:gdLst>
                <a:gd name="connsiteX0" fmla="*/ 0 w 2787982"/>
                <a:gd name="connsiteY0" fmla="*/ 10913 h 222624"/>
                <a:gd name="connsiteX1" fmla="*/ 10913 w 2787982"/>
                <a:gd name="connsiteY1" fmla="*/ 0 h 222624"/>
                <a:gd name="connsiteX2" fmla="*/ 674790 w 2787982"/>
                <a:gd name="connsiteY2" fmla="*/ 0 h 222624"/>
                <a:gd name="connsiteX3" fmla="*/ 1338668 w 2787982"/>
                <a:gd name="connsiteY3" fmla="*/ 0 h 222624"/>
                <a:gd name="connsiteX4" fmla="*/ 2057868 w 2787982"/>
                <a:gd name="connsiteY4" fmla="*/ 0 h 222624"/>
                <a:gd name="connsiteX5" fmla="*/ 2777069 w 2787982"/>
                <a:gd name="connsiteY5" fmla="*/ 0 h 222624"/>
                <a:gd name="connsiteX6" fmla="*/ 2787982 w 2787982"/>
                <a:gd name="connsiteY6" fmla="*/ 10913 h 222624"/>
                <a:gd name="connsiteX7" fmla="*/ 2787982 w 2787982"/>
                <a:gd name="connsiteY7" fmla="*/ 211711 h 222624"/>
                <a:gd name="connsiteX8" fmla="*/ 2777069 w 2787982"/>
                <a:gd name="connsiteY8" fmla="*/ 222624 h 222624"/>
                <a:gd name="connsiteX9" fmla="*/ 2085530 w 2787982"/>
                <a:gd name="connsiteY9" fmla="*/ 222624 h 222624"/>
                <a:gd name="connsiteX10" fmla="*/ 1449314 w 2787982"/>
                <a:gd name="connsiteY10" fmla="*/ 222624 h 222624"/>
                <a:gd name="connsiteX11" fmla="*/ 813098 w 2787982"/>
                <a:gd name="connsiteY11" fmla="*/ 222624 h 222624"/>
                <a:gd name="connsiteX12" fmla="*/ 10913 w 2787982"/>
                <a:gd name="connsiteY12" fmla="*/ 222624 h 222624"/>
                <a:gd name="connsiteX13" fmla="*/ 0 w 2787982"/>
                <a:gd name="connsiteY13" fmla="*/ 211711 h 222624"/>
                <a:gd name="connsiteX14" fmla="*/ 0 w 2787982"/>
                <a:gd name="connsiteY14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87982" h="222624" fill="none" extrusionOk="0">
                  <a:moveTo>
                    <a:pt x="0" y="10913"/>
                  </a:moveTo>
                  <a:cubicBezTo>
                    <a:pt x="564" y="6092"/>
                    <a:pt x="3422" y="-356"/>
                    <a:pt x="10913" y="0"/>
                  </a:cubicBezTo>
                  <a:cubicBezTo>
                    <a:pt x="249890" y="-27063"/>
                    <a:pt x="521271" y="26042"/>
                    <a:pt x="674790" y="0"/>
                  </a:cubicBezTo>
                  <a:cubicBezTo>
                    <a:pt x="828309" y="-26042"/>
                    <a:pt x="1165383" y="-23235"/>
                    <a:pt x="1338668" y="0"/>
                  </a:cubicBezTo>
                  <a:cubicBezTo>
                    <a:pt x="1511953" y="23235"/>
                    <a:pt x="1867498" y="-29286"/>
                    <a:pt x="2057868" y="0"/>
                  </a:cubicBezTo>
                  <a:cubicBezTo>
                    <a:pt x="2248238" y="29286"/>
                    <a:pt x="2568195" y="-11279"/>
                    <a:pt x="2777069" y="0"/>
                  </a:cubicBezTo>
                  <a:cubicBezTo>
                    <a:pt x="2782261" y="643"/>
                    <a:pt x="2787225" y="5236"/>
                    <a:pt x="2787982" y="10913"/>
                  </a:cubicBezTo>
                  <a:cubicBezTo>
                    <a:pt x="2788115" y="78119"/>
                    <a:pt x="2782226" y="119246"/>
                    <a:pt x="2787982" y="211711"/>
                  </a:cubicBezTo>
                  <a:cubicBezTo>
                    <a:pt x="2787706" y="217582"/>
                    <a:pt x="2783317" y="222603"/>
                    <a:pt x="2777069" y="222624"/>
                  </a:cubicBezTo>
                  <a:cubicBezTo>
                    <a:pt x="2539929" y="250980"/>
                    <a:pt x="2422078" y="229667"/>
                    <a:pt x="2085530" y="222624"/>
                  </a:cubicBezTo>
                  <a:cubicBezTo>
                    <a:pt x="1748982" y="215581"/>
                    <a:pt x="1758012" y="214260"/>
                    <a:pt x="1449314" y="222624"/>
                  </a:cubicBezTo>
                  <a:cubicBezTo>
                    <a:pt x="1140616" y="230988"/>
                    <a:pt x="1064988" y="196615"/>
                    <a:pt x="813098" y="222624"/>
                  </a:cubicBezTo>
                  <a:cubicBezTo>
                    <a:pt x="561208" y="248633"/>
                    <a:pt x="349546" y="201770"/>
                    <a:pt x="10913" y="222624"/>
                  </a:cubicBezTo>
                  <a:cubicBezTo>
                    <a:pt x="5195" y="221156"/>
                    <a:pt x="441" y="217485"/>
                    <a:pt x="0" y="211711"/>
                  </a:cubicBezTo>
                  <a:cubicBezTo>
                    <a:pt x="1849" y="146393"/>
                    <a:pt x="-649" y="108674"/>
                    <a:pt x="0" y="10913"/>
                  </a:cubicBezTo>
                  <a:close/>
                </a:path>
                <a:path w="2787982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275699" y="505"/>
                    <a:pt x="516588" y="-10800"/>
                    <a:pt x="730114" y="0"/>
                  </a:cubicBezTo>
                  <a:cubicBezTo>
                    <a:pt x="943640" y="10800"/>
                    <a:pt x="1288194" y="-5631"/>
                    <a:pt x="1476976" y="0"/>
                  </a:cubicBezTo>
                  <a:cubicBezTo>
                    <a:pt x="1665758" y="5631"/>
                    <a:pt x="2181071" y="64161"/>
                    <a:pt x="2777069" y="0"/>
                  </a:cubicBezTo>
                  <a:cubicBezTo>
                    <a:pt x="2782290" y="-150"/>
                    <a:pt x="2788512" y="5207"/>
                    <a:pt x="2787982" y="10913"/>
                  </a:cubicBezTo>
                  <a:cubicBezTo>
                    <a:pt x="2785169" y="88248"/>
                    <a:pt x="2785922" y="114887"/>
                    <a:pt x="2787982" y="211711"/>
                  </a:cubicBezTo>
                  <a:cubicBezTo>
                    <a:pt x="2787705" y="216706"/>
                    <a:pt x="2782105" y="222068"/>
                    <a:pt x="2777069" y="222624"/>
                  </a:cubicBezTo>
                  <a:cubicBezTo>
                    <a:pt x="2648189" y="246124"/>
                    <a:pt x="2373813" y="197733"/>
                    <a:pt x="2168515" y="222624"/>
                  </a:cubicBezTo>
                  <a:cubicBezTo>
                    <a:pt x="1963217" y="247515"/>
                    <a:pt x="1813799" y="252926"/>
                    <a:pt x="1476976" y="222624"/>
                  </a:cubicBezTo>
                  <a:cubicBezTo>
                    <a:pt x="1140153" y="192322"/>
                    <a:pt x="1143624" y="230884"/>
                    <a:pt x="813098" y="222624"/>
                  </a:cubicBezTo>
                  <a:cubicBezTo>
                    <a:pt x="482572" y="214364"/>
                    <a:pt x="229660" y="212922"/>
                    <a:pt x="10913" y="222624"/>
                  </a:cubicBezTo>
                  <a:cubicBezTo>
                    <a:pt x="4942" y="221797"/>
                    <a:pt x="-425" y="218486"/>
                    <a:pt x="0" y="211711"/>
                  </a:cubicBezTo>
                  <a:cubicBezTo>
                    <a:pt x="-61" y="153860"/>
                    <a:pt x="-9970" y="78938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Submit Text Background">
              <a:extLst>
                <a:ext uri="{FF2B5EF4-FFF2-40B4-BE49-F238E27FC236}">
                  <a16:creationId xmlns:a16="http://schemas.microsoft.com/office/drawing/2014/main" id="{E29732B6-2B2C-4499-AE51-025E3ADD7066}"/>
                </a:ext>
              </a:extLst>
            </p:cNvPr>
            <p:cNvSpPr/>
            <p:nvPr/>
          </p:nvSpPr>
          <p:spPr>
            <a:xfrm>
              <a:off x="2507533" y="4283541"/>
              <a:ext cx="597185" cy="222624"/>
            </a:xfrm>
            <a:custGeom>
              <a:avLst/>
              <a:gdLst>
                <a:gd name="connsiteX0" fmla="*/ 0 w 597185"/>
                <a:gd name="connsiteY0" fmla="*/ 10913 h 222624"/>
                <a:gd name="connsiteX1" fmla="*/ 10913 w 597185"/>
                <a:gd name="connsiteY1" fmla="*/ 0 h 222624"/>
                <a:gd name="connsiteX2" fmla="*/ 586272 w 597185"/>
                <a:gd name="connsiteY2" fmla="*/ 0 h 222624"/>
                <a:gd name="connsiteX3" fmla="*/ 597185 w 597185"/>
                <a:gd name="connsiteY3" fmla="*/ 10913 h 222624"/>
                <a:gd name="connsiteX4" fmla="*/ 597185 w 597185"/>
                <a:gd name="connsiteY4" fmla="*/ 211711 h 222624"/>
                <a:gd name="connsiteX5" fmla="*/ 586272 w 597185"/>
                <a:gd name="connsiteY5" fmla="*/ 222624 h 222624"/>
                <a:gd name="connsiteX6" fmla="*/ 10913 w 597185"/>
                <a:gd name="connsiteY6" fmla="*/ 222624 h 222624"/>
                <a:gd name="connsiteX7" fmla="*/ 0 w 597185"/>
                <a:gd name="connsiteY7" fmla="*/ 211711 h 222624"/>
                <a:gd name="connsiteX8" fmla="*/ 0 w 597185"/>
                <a:gd name="connsiteY8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185" h="222624" fill="none" extrusionOk="0">
                  <a:moveTo>
                    <a:pt x="0" y="10913"/>
                  </a:moveTo>
                  <a:cubicBezTo>
                    <a:pt x="-782" y="4715"/>
                    <a:pt x="4962" y="-736"/>
                    <a:pt x="10913" y="0"/>
                  </a:cubicBezTo>
                  <a:cubicBezTo>
                    <a:pt x="274964" y="-29955"/>
                    <a:pt x="439491" y="3100"/>
                    <a:pt x="586272" y="0"/>
                  </a:cubicBezTo>
                  <a:cubicBezTo>
                    <a:pt x="592670" y="793"/>
                    <a:pt x="597335" y="5280"/>
                    <a:pt x="597185" y="10913"/>
                  </a:cubicBezTo>
                  <a:cubicBezTo>
                    <a:pt x="619629" y="95343"/>
                    <a:pt x="578451" y="168442"/>
                    <a:pt x="597185" y="211711"/>
                  </a:cubicBezTo>
                  <a:cubicBezTo>
                    <a:pt x="596187" y="218004"/>
                    <a:pt x="592337" y="222204"/>
                    <a:pt x="586272" y="222624"/>
                  </a:cubicBezTo>
                  <a:cubicBezTo>
                    <a:pt x="332136" y="272442"/>
                    <a:pt x="188689" y="154670"/>
                    <a:pt x="10913" y="222624"/>
                  </a:cubicBezTo>
                  <a:cubicBezTo>
                    <a:pt x="4487" y="223601"/>
                    <a:pt x="848" y="219166"/>
                    <a:pt x="0" y="211711"/>
                  </a:cubicBezTo>
                  <a:cubicBezTo>
                    <a:pt x="-8912" y="113153"/>
                    <a:pt x="2809" y="79521"/>
                    <a:pt x="0" y="10913"/>
                  </a:cubicBezTo>
                  <a:close/>
                </a:path>
                <a:path w="597185" h="222624" stroke="0" extrusionOk="0">
                  <a:moveTo>
                    <a:pt x="0" y="10913"/>
                  </a:moveTo>
                  <a:cubicBezTo>
                    <a:pt x="271" y="4373"/>
                    <a:pt x="4559" y="632"/>
                    <a:pt x="10913" y="0"/>
                  </a:cubicBezTo>
                  <a:cubicBezTo>
                    <a:pt x="167999" y="-27926"/>
                    <a:pt x="452014" y="6480"/>
                    <a:pt x="586272" y="0"/>
                  </a:cubicBezTo>
                  <a:cubicBezTo>
                    <a:pt x="590640" y="-74"/>
                    <a:pt x="597416" y="3504"/>
                    <a:pt x="597185" y="10913"/>
                  </a:cubicBezTo>
                  <a:cubicBezTo>
                    <a:pt x="605554" y="81701"/>
                    <a:pt x="588214" y="151708"/>
                    <a:pt x="597185" y="211711"/>
                  </a:cubicBezTo>
                  <a:cubicBezTo>
                    <a:pt x="597537" y="218653"/>
                    <a:pt x="592069" y="221112"/>
                    <a:pt x="586272" y="222624"/>
                  </a:cubicBezTo>
                  <a:cubicBezTo>
                    <a:pt x="371974" y="283755"/>
                    <a:pt x="221817" y="215671"/>
                    <a:pt x="10913" y="222624"/>
                  </a:cubicBezTo>
                  <a:cubicBezTo>
                    <a:pt x="4871" y="220980"/>
                    <a:pt x="-23" y="217154"/>
                    <a:pt x="0" y="211711"/>
                  </a:cubicBezTo>
                  <a:cubicBezTo>
                    <a:pt x="-12827" y="161156"/>
                    <a:pt x="6572" y="69927"/>
                    <a:pt x="0" y="10913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Submit Text">
              <a:extLst>
                <a:ext uri="{FF2B5EF4-FFF2-40B4-BE49-F238E27FC236}">
                  <a16:creationId xmlns:a16="http://schemas.microsoft.com/office/drawing/2014/main" id="{10A61B92-0349-4F4F-BFB8-00F0DCD8BDBA}"/>
                </a:ext>
              </a:extLst>
            </p:cNvPr>
            <p:cNvSpPr txBox="1"/>
            <p:nvPr/>
          </p:nvSpPr>
          <p:spPr>
            <a:xfrm>
              <a:off x="2577368" y="4335179"/>
              <a:ext cx="452757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spAutoFit/>
            </a:bodyPr>
            <a:lstStyle/>
            <a:p>
              <a:pPr algn="ctr"/>
              <a:r>
                <a:rPr lang="en-US" sz="750" dirty="0">
                  <a:solidFill>
                    <a:schemeClr val="bg1"/>
                  </a:solidFill>
                </a:rPr>
                <a:t>Submit</a:t>
              </a:r>
            </a:p>
          </p:txBody>
        </p:sp>
        <p:sp>
          <p:nvSpPr>
            <p:cNvPr id="180" name="Text Placeholder">
              <a:extLst>
                <a:ext uri="{FF2B5EF4-FFF2-40B4-BE49-F238E27FC236}">
                  <a16:creationId xmlns:a16="http://schemas.microsoft.com/office/drawing/2014/main" id="{6D52AD29-1E2E-4A5E-BBDD-2A7E2F3B8B3F}"/>
                </a:ext>
              </a:extLst>
            </p:cNvPr>
            <p:cNvSpPr txBox="1"/>
            <p:nvPr/>
          </p:nvSpPr>
          <p:spPr>
            <a:xfrm>
              <a:off x="314422" y="4291757"/>
              <a:ext cx="1982698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81" name="Filled Input Text Box" descr="Scrolling text box, filled with text">
            <a:extLst>
              <a:ext uri="{FF2B5EF4-FFF2-40B4-BE49-F238E27FC236}">
                <a16:creationId xmlns:a16="http://schemas.microsoft.com/office/drawing/2014/main" id="{EA00FAED-4291-4249-8F9F-4B3716409FA9}"/>
              </a:ext>
            </a:extLst>
          </p:cNvPr>
          <p:cNvGrpSpPr/>
          <p:nvPr/>
        </p:nvGrpSpPr>
        <p:grpSpPr>
          <a:xfrm>
            <a:off x="484202" y="4177439"/>
            <a:ext cx="2287067" cy="675189"/>
            <a:chOff x="672726" y="6194354"/>
            <a:chExt cx="2287067" cy="675189"/>
          </a:xfrm>
        </p:grpSpPr>
        <p:sp>
          <p:nvSpPr>
            <p:cNvPr id="182" name="Text Box Background">
              <a:extLst>
                <a:ext uri="{FF2B5EF4-FFF2-40B4-BE49-F238E27FC236}">
                  <a16:creationId xmlns:a16="http://schemas.microsoft.com/office/drawing/2014/main" id="{23309BF0-BE2F-4E1E-B401-AF488B53B6A5}"/>
                </a:ext>
              </a:extLst>
            </p:cNvPr>
            <p:cNvSpPr/>
            <p:nvPr/>
          </p:nvSpPr>
          <p:spPr>
            <a:xfrm flipH="1">
              <a:off x="672726" y="6194354"/>
              <a:ext cx="2287067" cy="673924"/>
            </a:xfrm>
            <a:custGeom>
              <a:avLst/>
              <a:gdLst>
                <a:gd name="connsiteX0" fmla="*/ 0 w 2287067"/>
                <a:gd name="connsiteY0" fmla="*/ 14692 h 673924"/>
                <a:gd name="connsiteX1" fmla="*/ 14692 w 2287067"/>
                <a:gd name="connsiteY1" fmla="*/ 0 h 673924"/>
                <a:gd name="connsiteX2" fmla="*/ 601690 w 2287067"/>
                <a:gd name="connsiteY2" fmla="*/ 0 h 673924"/>
                <a:gd name="connsiteX3" fmla="*/ 1120957 w 2287067"/>
                <a:gd name="connsiteY3" fmla="*/ 0 h 673924"/>
                <a:gd name="connsiteX4" fmla="*/ 1730531 w 2287067"/>
                <a:gd name="connsiteY4" fmla="*/ 0 h 673924"/>
                <a:gd name="connsiteX5" fmla="*/ 2272375 w 2287067"/>
                <a:gd name="connsiteY5" fmla="*/ 0 h 673924"/>
                <a:gd name="connsiteX6" fmla="*/ 2287067 w 2287067"/>
                <a:gd name="connsiteY6" fmla="*/ 14692 h 673924"/>
                <a:gd name="connsiteX7" fmla="*/ 2287067 w 2287067"/>
                <a:gd name="connsiteY7" fmla="*/ 659232 h 673924"/>
                <a:gd name="connsiteX8" fmla="*/ 2272375 w 2287067"/>
                <a:gd name="connsiteY8" fmla="*/ 673924 h 673924"/>
                <a:gd name="connsiteX9" fmla="*/ 1662801 w 2287067"/>
                <a:gd name="connsiteY9" fmla="*/ 673924 h 673924"/>
                <a:gd name="connsiteX10" fmla="*/ 1075803 w 2287067"/>
                <a:gd name="connsiteY10" fmla="*/ 673924 h 673924"/>
                <a:gd name="connsiteX11" fmla="*/ 556536 w 2287067"/>
                <a:gd name="connsiteY11" fmla="*/ 673924 h 673924"/>
                <a:gd name="connsiteX12" fmla="*/ 14692 w 2287067"/>
                <a:gd name="connsiteY12" fmla="*/ 673924 h 673924"/>
                <a:gd name="connsiteX13" fmla="*/ 0 w 2287067"/>
                <a:gd name="connsiteY13" fmla="*/ 659232 h 673924"/>
                <a:gd name="connsiteX14" fmla="*/ 0 w 2287067"/>
                <a:gd name="connsiteY14" fmla="*/ 14692 h 673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7067" h="673924" fill="none" extrusionOk="0">
                  <a:moveTo>
                    <a:pt x="0" y="14692"/>
                  </a:moveTo>
                  <a:cubicBezTo>
                    <a:pt x="-329" y="5907"/>
                    <a:pt x="6612" y="-456"/>
                    <a:pt x="14692" y="0"/>
                  </a:cubicBezTo>
                  <a:cubicBezTo>
                    <a:pt x="201282" y="19936"/>
                    <a:pt x="391251" y="2522"/>
                    <a:pt x="601690" y="0"/>
                  </a:cubicBezTo>
                  <a:cubicBezTo>
                    <a:pt x="812129" y="-2522"/>
                    <a:pt x="970271" y="-23013"/>
                    <a:pt x="1120957" y="0"/>
                  </a:cubicBezTo>
                  <a:cubicBezTo>
                    <a:pt x="1271643" y="23013"/>
                    <a:pt x="1560932" y="-22798"/>
                    <a:pt x="1730531" y="0"/>
                  </a:cubicBezTo>
                  <a:cubicBezTo>
                    <a:pt x="1900130" y="22798"/>
                    <a:pt x="2039289" y="-13670"/>
                    <a:pt x="2272375" y="0"/>
                  </a:cubicBezTo>
                  <a:cubicBezTo>
                    <a:pt x="2281168" y="1344"/>
                    <a:pt x="2285621" y="7341"/>
                    <a:pt x="2287067" y="14692"/>
                  </a:cubicBezTo>
                  <a:cubicBezTo>
                    <a:pt x="2313246" y="292895"/>
                    <a:pt x="2311012" y="346458"/>
                    <a:pt x="2287067" y="659232"/>
                  </a:cubicBezTo>
                  <a:cubicBezTo>
                    <a:pt x="2287469" y="666111"/>
                    <a:pt x="2281333" y="674837"/>
                    <a:pt x="2272375" y="673924"/>
                  </a:cubicBezTo>
                  <a:cubicBezTo>
                    <a:pt x="2007649" y="693953"/>
                    <a:pt x="1909373" y="704160"/>
                    <a:pt x="1662801" y="673924"/>
                  </a:cubicBezTo>
                  <a:cubicBezTo>
                    <a:pt x="1416229" y="643688"/>
                    <a:pt x="1308536" y="664745"/>
                    <a:pt x="1075803" y="673924"/>
                  </a:cubicBezTo>
                  <a:cubicBezTo>
                    <a:pt x="843070" y="683103"/>
                    <a:pt x="794165" y="649928"/>
                    <a:pt x="556536" y="673924"/>
                  </a:cubicBezTo>
                  <a:cubicBezTo>
                    <a:pt x="318907" y="697920"/>
                    <a:pt x="138404" y="647919"/>
                    <a:pt x="14692" y="673924"/>
                  </a:cubicBezTo>
                  <a:cubicBezTo>
                    <a:pt x="5451" y="675064"/>
                    <a:pt x="-848" y="669162"/>
                    <a:pt x="0" y="659232"/>
                  </a:cubicBezTo>
                  <a:cubicBezTo>
                    <a:pt x="5176" y="414377"/>
                    <a:pt x="-9277" y="320235"/>
                    <a:pt x="0" y="14692"/>
                  </a:cubicBezTo>
                  <a:close/>
                </a:path>
                <a:path w="2287067" h="673924" stroke="0" extrusionOk="0">
                  <a:moveTo>
                    <a:pt x="0" y="14692"/>
                  </a:moveTo>
                  <a:cubicBezTo>
                    <a:pt x="-516" y="6260"/>
                    <a:pt x="5784" y="298"/>
                    <a:pt x="14692" y="0"/>
                  </a:cubicBezTo>
                  <a:cubicBezTo>
                    <a:pt x="229905" y="20948"/>
                    <a:pt x="346507" y="-21530"/>
                    <a:pt x="624266" y="0"/>
                  </a:cubicBezTo>
                  <a:cubicBezTo>
                    <a:pt x="902025" y="21530"/>
                    <a:pt x="911142" y="-26757"/>
                    <a:pt x="1166110" y="0"/>
                  </a:cubicBezTo>
                  <a:cubicBezTo>
                    <a:pt x="1421078" y="26757"/>
                    <a:pt x="1522442" y="881"/>
                    <a:pt x="1685377" y="0"/>
                  </a:cubicBezTo>
                  <a:cubicBezTo>
                    <a:pt x="1848312" y="-881"/>
                    <a:pt x="2060949" y="20153"/>
                    <a:pt x="2272375" y="0"/>
                  </a:cubicBezTo>
                  <a:cubicBezTo>
                    <a:pt x="2281031" y="-1115"/>
                    <a:pt x="2285257" y="6301"/>
                    <a:pt x="2287067" y="14692"/>
                  </a:cubicBezTo>
                  <a:cubicBezTo>
                    <a:pt x="2308375" y="153091"/>
                    <a:pt x="2299967" y="489497"/>
                    <a:pt x="2287067" y="659232"/>
                  </a:cubicBezTo>
                  <a:cubicBezTo>
                    <a:pt x="2286499" y="668285"/>
                    <a:pt x="2280348" y="673760"/>
                    <a:pt x="2272375" y="673924"/>
                  </a:cubicBezTo>
                  <a:cubicBezTo>
                    <a:pt x="2135307" y="678593"/>
                    <a:pt x="1964404" y="676976"/>
                    <a:pt x="1753108" y="673924"/>
                  </a:cubicBezTo>
                  <a:cubicBezTo>
                    <a:pt x="1541812" y="670872"/>
                    <a:pt x="1311198" y="663771"/>
                    <a:pt x="1188687" y="673924"/>
                  </a:cubicBezTo>
                  <a:cubicBezTo>
                    <a:pt x="1066176" y="684077"/>
                    <a:pt x="759632" y="681219"/>
                    <a:pt x="646843" y="673924"/>
                  </a:cubicBezTo>
                  <a:cubicBezTo>
                    <a:pt x="534054" y="666629"/>
                    <a:pt x="261300" y="665605"/>
                    <a:pt x="14692" y="673924"/>
                  </a:cubicBezTo>
                  <a:cubicBezTo>
                    <a:pt x="6858" y="673576"/>
                    <a:pt x="-522" y="667144"/>
                    <a:pt x="0" y="659232"/>
                  </a:cubicBezTo>
                  <a:cubicBezTo>
                    <a:pt x="24026" y="388074"/>
                    <a:pt x="2902" y="171882"/>
                    <a:pt x="0" y="1469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218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Scroll Bar">
              <a:extLst>
                <a:ext uri="{FF2B5EF4-FFF2-40B4-BE49-F238E27FC236}">
                  <a16:creationId xmlns:a16="http://schemas.microsoft.com/office/drawing/2014/main" id="{54C98253-60A5-44BD-BBFC-A40A60D6B980}"/>
                </a:ext>
              </a:extLst>
            </p:cNvPr>
            <p:cNvSpPr/>
            <p:nvPr/>
          </p:nvSpPr>
          <p:spPr>
            <a:xfrm>
              <a:off x="2892136" y="6222121"/>
              <a:ext cx="36576" cy="351194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Filler Text">
              <a:extLst>
                <a:ext uri="{FF2B5EF4-FFF2-40B4-BE49-F238E27FC236}">
                  <a16:creationId xmlns:a16="http://schemas.microsoft.com/office/drawing/2014/main" id="{A1B2648A-0788-42E8-B2C8-3E379ABF2EB5}"/>
                </a:ext>
              </a:extLst>
            </p:cNvPr>
            <p:cNvSpPr txBox="1"/>
            <p:nvPr/>
          </p:nvSpPr>
          <p:spPr>
            <a:xfrm>
              <a:off x="694596" y="6200129"/>
              <a:ext cx="2188123" cy="66941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Lorem ipsum dolor sit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amet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,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consectetur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adipiscing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elit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, sed do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eiusmod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empor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incididunt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ut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labore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et dolore magna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aliqua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. Ut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enim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ad minim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veniam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,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quis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nostrud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exercitation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ullamco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laboris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nisi ut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aliquip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ex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ea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commodo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consequat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. Duis aute irure </a:t>
              </a:r>
            </a:p>
          </p:txBody>
        </p:sp>
      </p:grpSp>
      <p:grpSp>
        <p:nvGrpSpPr>
          <p:cNvPr id="187" name="Input Text Box" descr="Empty scolling text box">
            <a:extLst>
              <a:ext uri="{FF2B5EF4-FFF2-40B4-BE49-F238E27FC236}">
                <a16:creationId xmlns:a16="http://schemas.microsoft.com/office/drawing/2014/main" id="{FB2028AC-3465-48D8-8098-05D18217787F}"/>
              </a:ext>
            </a:extLst>
          </p:cNvPr>
          <p:cNvGrpSpPr/>
          <p:nvPr/>
        </p:nvGrpSpPr>
        <p:grpSpPr>
          <a:xfrm>
            <a:off x="492074" y="3318642"/>
            <a:ext cx="2287067" cy="673924"/>
            <a:chOff x="680598" y="5324842"/>
            <a:chExt cx="2287067" cy="673924"/>
          </a:xfrm>
        </p:grpSpPr>
        <p:sp>
          <p:nvSpPr>
            <p:cNvPr id="188" name="Text Box Background">
              <a:extLst>
                <a:ext uri="{FF2B5EF4-FFF2-40B4-BE49-F238E27FC236}">
                  <a16:creationId xmlns:a16="http://schemas.microsoft.com/office/drawing/2014/main" id="{99138122-B0CC-474F-A770-EBAB3A3B23D3}"/>
                </a:ext>
              </a:extLst>
            </p:cNvPr>
            <p:cNvSpPr/>
            <p:nvPr/>
          </p:nvSpPr>
          <p:spPr>
            <a:xfrm flipH="1">
              <a:off x="680598" y="5324842"/>
              <a:ext cx="2287067" cy="673924"/>
            </a:xfrm>
            <a:custGeom>
              <a:avLst/>
              <a:gdLst>
                <a:gd name="connsiteX0" fmla="*/ 0 w 2287067"/>
                <a:gd name="connsiteY0" fmla="*/ 14692 h 673924"/>
                <a:gd name="connsiteX1" fmla="*/ 14692 w 2287067"/>
                <a:gd name="connsiteY1" fmla="*/ 0 h 673924"/>
                <a:gd name="connsiteX2" fmla="*/ 601690 w 2287067"/>
                <a:gd name="connsiteY2" fmla="*/ 0 h 673924"/>
                <a:gd name="connsiteX3" fmla="*/ 1120957 w 2287067"/>
                <a:gd name="connsiteY3" fmla="*/ 0 h 673924"/>
                <a:gd name="connsiteX4" fmla="*/ 1730531 w 2287067"/>
                <a:gd name="connsiteY4" fmla="*/ 0 h 673924"/>
                <a:gd name="connsiteX5" fmla="*/ 2272375 w 2287067"/>
                <a:gd name="connsiteY5" fmla="*/ 0 h 673924"/>
                <a:gd name="connsiteX6" fmla="*/ 2287067 w 2287067"/>
                <a:gd name="connsiteY6" fmla="*/ 14692 h 673924"/>
                <a:gd name="connsiteX7" fmla="*/ 2287067 w 2287067"/>
                <a:gd name="connsiteY7" fmla="*/ 659232 h 673924"/>
                <a:gd name="connsiteX8" fmla="*/ 2272375 w 2287067"/>
                <a:gd name="connsiteY8" fmla="*/ 673924 h 673924"/>
                <a:gd name="connsiteX9" fmla="*/ 1662801 w 2287067"/>
                <a:gd name="connsiteY9" fmla="*/ 673924 h 673924"/>
                <a:gd name="connsiteX10" fmla="*/ 1075803 w 2287067"/>
                <a:gd name="connsiteY10" fmla="*/ 673924 h 673924"/>
                <a:gd name="connsiteX11" fmla="*/ 556536 w 2287067"/>
                <a:gd name="connsiteY11" fmla="*/ 673924 h 673924"/>
                <a:gd name="connsiteX12" fmla="*/ 14692 w 2287067"/>
                <a:gd name="connsiteY12" fmla="*/ 673924 h 673924"/>
                <a:gd name="connsiteX13" fmla="*/ 0 w 2287067"/>
                <a:gd name="connsiteY13" fmla="*/ 659232 h 673924"/>
                <a:gd name="connsiteX14" fmla="*/ 0 w 2287067"/>
                <a:gd name="connsiteY14" fmla="*/ 14692 h 673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7067" h="673924" fill="none" extrusionOk="0">
                  <a:moveTo>
                    <a:pt x="0" y="14692"/>
                  </a:moveTo>
                  <a:cubicBezTo>
                    <a:pt x="-329" y="5907"/>
                    <a:pt x="6612" y="-456"/>
                    <a:pt x="14692" y="0"/>
                  </a:cubicBezTo>
                  <a:cubicBezTo>
                    <a:pt x="201282" y="19936"/>
                    <a:pt x="391251" y="2522"/>
                    <a:pt x="601690" y="0"/>
                  </a:cubicBezTo>
                  <a:cubicBezTo>
                    <a:pt x="812129" y="-2522"/>
                    <a:pt x="970271" y="-23013"/>
                    <a:pt x="1120957" y="0"/>
                  </a:cubicBezTo>
                  <a:cubicBezTo>
                    <a:pt x="1271643" y="23013"/>
                    <a:pt x="1560932" y="-22798"/>
                    <a:pt x="1730531" y="0"/>
                  </a:cubicBezTo>
                  <a:cubicBezTo>
                    <a:pt x="1900130" y="22798"/>
                    <a:pt x="2039289" y="-13670"/>
                    <a:pt x="2272375" y="0"/>
                  </a:cubicBezTo>
                  <a:cubicBezTo>
                    <a:pt x="2281168" y="1344"/>
                    <a:pt x="2285621" y="7341"/>
                    <a:pt x="2287067" y="14692"/>
                  </a:cubicBezTo>
                  <a:cubicBezTo>
                    <a:pt x="2313246" y="292895"/>
                    <a:pt x="2311012" y="346458"/>
                    <a:pt x="2287067" y="659232"/>
                  </a:cubicBezTo>
                  <a:cubicBezTo>
                    <a:pt x="2287469" y="666111"/>
                    <a:pt x="2281333" y="674837"/>
                    <a:pt x="2272375" y="673924"/>
                  </a:cubicBezTo>
                  <a:cubicBezTo>
                    <a:pt x="2007649" y="693953"/>
                    <a:pt x="1909373" y="704160"/>
                    <a:pt x="1662801" y="673924"/>
                  </a:cubicBezTo>
                  <a:cubicBezTo>
                    <a:pt x="1416229" y="643688"/>
                    <a:pt x="1308536" y="664745"/>
                    <a:pt x="1075803" y="673924"/>
                  </a:cubicBezTo>
                  <a:cubicBezTo>
                    <a:pt x="843070" y="683103"/>
                    <a:pt x="794165" y="649928"/>
                    <a:pt x="556536" y="673924"/>
                  </a:cubicBezTo>
                  <a:cubicBezTo>
                    <a:pt x="318907" y="697920"/>
                    <a:pt x="138404" y="647919"/>
                    <a:pt x="14692" y="673924"/>
                  </a:cubicBezTo>
                  <a:cubicBezTo>
                    <a:pt x="5451" y="675064"/>
                    <a:pt x="-848" y="669162"/>
                    <a:pt x="0" y="659232"/>
                  </a:cubicBezTo>
                  <a:cubicBezTo>
                    <a:pt x="5176" y="414377"/>
                    <a:pt x="-9277" y="320235"/>
                    <a:pt x="0" y="14692"/>
                  </a:cubicBezTo>
                  <a:close/>
                </a:path>
                <a:path w="2287067" h="673924" stroke="0" extrusionOk="0">
                  <a:moveTo>
                    <a:pt x="0" y="14692"/>
                  </a:moveTo>
                  <a:cubicBezTo>
                    <a:pt x="-516" y="6260"/>
                    <a:pt x="5784" y="298"/>
                    <a:pt x="14692" y="0"/>
                  </a:cubicBezTo>
                  <a:cubicBezTo>
                    <a:pt x="229905" y="20948"/>
                    <a:pt x="346507" y="-21530"/>
                    <a:pt x="624266" y="0"/>
                  </a:cubicBezTo>
                  <a:cubicBezTo>
                    <a:pt x="902025" y="21530"/>
                    <a:pt x="911142" y="-26757"/>
                    <a:pt x="1166110" y="0"/>
                  </a:cubicBezTo>
                  <a:cubicBezTo>
                    <a:pt x="1421078" y="26757"/>
                    <a:pt x="1522442" y="881"/>
                    <a:pt x="1685377" y="0"/>
                  </a:cubicBezTo>
                  <a:cubicBezTo>
                    <a:pt x="1848312" y="-881"/>
                    <a:pt x="2060949" y="20153"/>
                    <a:pt x="2272375" y="0"/>
                  </a:cubicBezTo>
                  <a:cubicBezTo>
                    <a:pt x="2281031" y="-1115"/>
                    <a:pt x="2285257" y="6301"/>
                    <a:pt x="2287067" y="14692"/>
                  </a:cubicBezTo>
                  <a:cubicBezTo>
                    <a:pt x="2308375" y="153091"/>
                    <a:pt x="2299967" y="489497"/>
                    <a:pt x="2287067" y="659232"/>
                  </a:cubicBezTo>
                  <a:cubicBezTo>
                    <a:pt x="2286499" y="668285"/>
                    <a:pt x="2280348" y="673760"/>
                    <a:pt x="2272375" y="673924"/>
                  </a:cubicBezTo>
                  <a:cubicBezTo>
                    <a:pt x="2135307" y="678593"/>
                    <a:pt x="1964404" y="676976"/>
                    <a:pt x="1753108" y="673924"/>
                  </a:cubicBezTo>
                  <a:cubicBezTo>
                    <a:pt x="1541812" y="670872"/>
                    <a:pt x="1311198" y="663771"/>
                    <a:pt x="1188687" y="673924"/>
                  </a:cubicBezTo>
                  <a:cubicBezTo>
                    <a:pt x="1066176" y="684077"/>
                    <a:pt x="759632" y="681219"/>
                    <a:pt x="646843" y="673924"/>
                  </a:cubicBezTo>
                  <a:cubicBezTo>
                    <a:pt x="534054" y="666629"/>
                    <a:pt x="261300" y="665605"/>
                    <a:pt x="14692" y="673924"/>
                  </a:cubicBezTo>
                  <a:cubicBezTo>
                    <a:pt x="6858" y="673576"/>
                    <a:pt x="-522" y="667144"/>
                    <a:pt x="0" y="659232"/>
                  </a:cubicBezTo>
                  <a:cubicBezTo>
                    <a:pt x="24026" y="388074"/>
                    <a:pt x="2902" y="171882"/>
                    <a:pt x="0" y="1469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218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Scroll Bar">
              <a:extLst>
                <a:ext uri="{FF2B5EF4-FFF2-40B4-BE49-F238E27FC236}">
                  <a16:creationId xmlns:a16="http://schemas.microsoft.com/office/drawing/2014/main" id="{FD40129D-DD15-4B49-B1A2-089E8C9F5E04}"/>
                </a:ext>
              </a:extLst>
            </p:cNvPr>
            <p:cNvSpPr/>
            <p:nvPr/>
          </p:nvSpPr>
          <p:spPr>
            <a:xfrm>
              <a:off x="2900008" y="5352609"/>
              <a:ext cx="36576" cy="351194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Text Placeholder">
              <a:extLst>
                <a:ext uri="{FF2B5EF4-FFF2-40B4-BE49-F238E27FC236}">
                  <a16:creationId xmlns:a16="http://schemas.microsoft.com/office/drawing/2014/main" id="{B20320E7-7300-45DC-9A60-8F3AF1C8E10E}"/>
                </a:ext>
              </a:extLst>
            </p:cNvPr>
            <p:cNvSpPr txBox="1"/>
            <p:nvPr/>
          </p:nvSpPr>
          <p:spPr>
            <a:xfrm>
              <a:off x="702468" y="5330617"/>
              <a:ext cx="2188123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75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91" name="Toggle Off" descr="Toggle off icon">
            <a:extLst>
              <a:ext uri="{FF2B5EF4-FFF2-40B4-BE49-F238E27FC236}">
                <a16:creationId xmlns:a16="http://schemas.microsoft.com/office/drawing/2014/main" id="{05FF5FF6-FD35-40B0-BCCD-61EE4E77AAFB}"/>
              </a:ext>
            </a:extLst>
          </p:cNvPr>
          <p:cNvGrpSpPr/>
          <p:nvPr/>
        </p:nvGrpSpPr>
        <p:grpSpPr>
          <a:xfrm>
            <a:off x="2326404" y="2479525"/>
            <a:ext cx="452737" cy="219456"/>
            <a:chOff x="2514928" y="4179094"/>
            <a:chExt cx="452737" cy="219456"/>
          </a:xfrm>
        </p:grpSpPr>
        <p:sp>
          <p:nvSpPr>
            <p:cNvPr id="192" name="Toggle Off Background">
              <a:extLst>
                <a:ext uri="{FF2B5EF4-FFF2-40B4-BE49-F238E27FC236}">
                  <a16:creationId xmlns:a16="http://schemas.microsoft.com/office/drawing/2014/main" id="{85A59574-775B-4ABF-8634-458547F60C9A}"/>
                </a:ext>
              </a:extLst>
            </p:cNvPr>
            <p:cNvSpPr/>
            <p:nvPr/>
          </p:nvSpPr>
          <p:spPr>
            <a:xfrm>
              <a:off x="2514928" y="4179094"/>
              <a:ext cx="452737" cy="219456"/>
            </a:xfrm>
            <a:custGeom>
              <a:avLst/>
              <a:gdLst>
                <a:gd name="connsiteX0" fmla="*/ 0 w 452737"/>
                <a:gd name="connsiteY0" fmla="*/ 109728 h 219456"/>
                <a:gd name="connsiteX1" fmla="*/ 109728 w 452737"/>
                <a:gd name="connsiteY1" fmla="*/ 0 h 219456"/>
                <a:gd name="connsiteX2" fmla="*/ 343009 w 452737"/>
                <a:gd name="connsiteY2" fmla="*/ 0 h 219456"/>
                <a:gd name="connsiteX3" fmla="*/ 452737 w 452737"/>
                <a:gd name="connsiteY3" fmla="*/ 109728 h 219456"/>
                <a:gd name="connsiteX4" fmla="*/ 452737 w 452737"/>
                <a:gd name="connsiteY4" fmla="*/ 109728 h 219456"/>
                <a:gd name="connsiteX5" fmla="*/ 343009 w 452737"/>
                <a:gd name="connsiteY5" fmla="*/ 219456 h 219456"/>
                <a:gd name="connsiteX6" fmla="*/ 109728 w 452737"/>
                <a:gd name="connsiteY6" fmla="*/ 219456 h 219456"/>
                <a:gd name="connsiteX7" fmla="*/ 0 w 452737"/>
                <a:gd name="connsiteY7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737" h="219456" fill="none" extrusionOk="0">
                  <a:moveTo>
                    <a:pt x="0" y="109728"/>
                  </a:moveTo>
                  <a:cubicBezTo>
                    <a:pt x="-3167" y="60399"/>
                    <a:pt x="48283" y="1926"/>
                    <a:pt x="109728" y="0"/>
                  </a:cubicBezTo>
                  <a:cubicBezTo>
                    <a:pt x="180041" y="6664"/>
                    <a:pt x="268479" y="-1522"/>
                    <a:pt x="343009" y="0"/>
                  </a:cubicBezTo>
                  <a:cubicBezTo>
                    <a:pt x="401744" y="1507"/>
                    <a:pt x="451145" y="49374"/>
                    <a:pt x="452737" y="109728"/>
                  </a:cubicBezTo>
                  <a:lnTo>
                    <a:pt x="452737" y="109728"/>
                  </a:lnTo>
                  <a:cubicBezTo>
                    <a:pt x="458185" y="170082"/>
                    <a:pt x="401759" y="218861"/>
                    <a:pt x="343009" y="219456"/>
                  </a:cubicBezTo>
                  <a:cubicBezTo>
                    <a:pt x="291934" y="220931"/>
                    <a:pt x="168965" y="214273"/>
                    <a:pt x="109728" y="219456"/>
                  </a:cubicBezTo>
                  <a:cubicBezTo>
                    <a:pt x="38141" y="212738"/>
                    <a:pt x="537" y="172273"/>
                    <a:pt x="0" y="109728"/>
                  </a:cubicBezTo>
                  <a:close/>
                </a:path>
                <a:path w="452737" h="219456" stroke="0" extrusionOk="0">
                  <a:moveTo>
                    <a:pt x="0" y="109728"/>
                  </a:moveTo>
                  <a:cubicBezTo>
                    <a:pt x="-764" y="53579"/>
                    <a:pt x="54034" y="-2162"/>
                    <a:pt x="109728" y="0"/>
                  </a:cubicBezTo>
                  <a:cubicBezTo>
                    <a:pt x="197755" y="7894"/>
                    <a:pt x="254598" y="-4275"/>
                    <a:pt x="343009" y="0"/>
                  </a:cubicBezTo>
                  <a:cubicBezTo>
                    <a:pt x="398684" y="-11744"/>
                    <a:pt x="447065" y="38442"/>
                    <a:pt x="452737" y="109728"/>
                  </a:cubicBezTo>
                  <a:lnTo>
                    <a:pt x="452737" y="109728"/>
                  </a:lnTo>
                  <a:cubicBezTo>
                    <a:pt x="453762" y="175262"/>
                    <a:pt x="406648" y="221847"/>
                    <a:pt x="343009" y="219456"/>
                  </a:cubicBezTo>
                  <a:cubicBezTo>
                    <a:pt x="266331" y="210399"/>
                    <a:pt x="164324" y="230479"/>
                    <a:pt x="109728" y="219456"/>
                  </a:cubicBezTo>
                  <a:cubicBezTo>
                    <a:pt x="54231" y="209685"/>
                    <a:pt x="7418" y="177078"/>
                    <a:pt x="0" y="1097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" name="Off Text">
              <a:extLst>
                <a:ext uri="{FF2B5EF4-FFF2-40B4-BE49-F238E27FC236}">
                  <a16:creationId xmlns:a16="http://schemas.microsoft.com/office/drawing/2014/main" id="{0913FF99-336B-4C26-A2D1-BD3840303633}"/>
                </a:ext>
              </a:extLst>
            </p:cNvPr>
            <p:cNvSpPr txBox="1"/>
            <p:nvPr/>
          </p:nvSpPr>
          <p:spPr>
            <a:xfrm>
              <a:off x="2744391" y="4190785"/>
              <a:ext cx="160638" cy="20774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r"/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FF</a:t>
              </a:r>
            </a:p>
          </p:txBody>
        </p:sp>
        <p:sp>
          <p:nvSpPr>
            <p:cNvPr id="194" name="Filled Circle">
              <a:extLst>
                <a:ext uri="{FF2B5EF4-FFF2-40B4-BE49-F238E27FC236}">
                  <a16:creationId xmlns:a16="http://schemas.microsoft.com/office/drawing/2014/main" id="{33CF4A15-4C55-4271-8C04-059DE0860EB4}"/>
                </a:ext>
              </a:extLst>
            </p:cNvPr>
            <p:cNvSpPr/>
            <p:nvPr/>
          </p:nvSpPr>
          <p:spPr>
            <a:xfrm>
              <a:off x="2538941" y="4207116"/>
              <a:ext cx="171428" cy="171428"/>
            </a:xfrm>
            <a:custGeom>
              <a:avLst/>
              <a:gdLst>
                <a:gd name="connsiteX0" fmla="*/ 0 w 171428"/>
                <a:gd name="connsiteY0" fmla="*/ 85714 h 171428"/>
                <a:gd name="connsiteX1" fmla="*/ 85714 w 171428"/>
                <a:gd name="connsiteY1" fmla="*/ 0 h 171428"/>
                <a:gd name="connsiteX2" fmla="*/ 171428 w 171428"/>
                <a:gd name="connsiteY2" fmla="*/ 85714 h 171428"/>
                <a:gd name="connsiteX3" fmla="*/ 85714 w 171428"/>
                <a:gd name="connsiteY3" fmla="*/ 171428 h 171428"/>
                <a:gd name="connsiteX4" fmla="*/ 0 w 171428"/>
                <a:gd name="connsiteY4" fmla="*/ 85714 h 17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8" h="171428" fill="none" extrusionOk="0">
                  <a:moveTo>
                    <a:pt x="0" y="85714"/>
                  </a:moveTo>
                  <a:cubicBezTo>
                    <a:pt x="-7833" y="35205"/>
                    <a:pt x="44181" y="-6848"/>
                    <a:pt x="85714" y="0"/>
                  </a:cubicBezTo>
                  <a:cubicBezTo>
                    <a:pt x="132057" y="-4303"/>
                    <a:pt x="170658" y="32560"/>
                    <a:pt x="171428" y="85714"/>
                  </a:cubicBezTo>
                  <a:cubicBezTo>
                    <a:pt x="175482" y="132919"/>
                    <a:pt x="122274" y="172281"/>
                    <a:pt x="85714" y="171428"/>
                  </a:cubicBezTo>
                  <a:cubicBezTo>
                    <a:pt x="37309" y="173938"/>
                    <a:pt x="-2760" y="137186"/>
                    <a:pt x="0" y="85714"/>
                  </a:cubicBezTo>
                  <a:close/>
                </a:path>
                <a:path w="171428" h="171428" stroke="0" extrusionOk="0">
                  <a:moveTo>
                    <a:pt x="0" y="85714"/>
                  </a:moveTo>
                  <a:cubicBezTo>
                    <a:pt x="-9295" y="31645"/>
                    <a:pt x="48397" y="49"/>
                    <a:pt x="85714" y="0"/>
                  </a:cubicBezTo>
                  <a:cubicBezTo>
                    <a:pt x="132584" y="-1606"/>
                    <a:pt x="168830" y="36298"/>
                    <a:pt x="171428" y="85714"/>
                  </a:cubicBezTo>
                  <a:cubicBezTo>
                    <a:pt x="173834" y="131751"/>
                    <a:pt x="141927" y="173700"/>
                    <a:pt x="85714" y="171428"/>
                  </a:cubicBezTo>
                  <a:cubicBezTo>
                    <a:pt x="47027" y="177067"/>
                    <a:pt x="-66" y="129021"/>
                    <a:pt x="0" y="857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5" name="Toggle On" descr="Toggle on icon">
            <a:extLst>
              <a:ext uri="{FF2B5EF4-FFF2-40B4-BE49-F238E27FC236}">
                <a16:creationId xmlns:a16="http://schemas.microsoft.com/office/drawing/2014/main" id="{1B9AE437-BBB9-48D2-83DF-49235A5F82BA}"/>
              </a:ext>
            </a:extLst>
          </p:cNvPr>
          <p:cNvGrpSpPr/>
          <p:nvPr/>
        </p:nvGrpSpPr>
        <p:grpSpPr>
          <a:xfrm>
            <a:off x="1820169" y="2479525"/>
            <a:ext cx="452737" cy="219456"/>
            <a:chOff x="2008693" y="4179094"/>
            <a:chExt cx="452737" cy="219456"/>
          </a:xfrm>
        </p:grpSpPr>
        <p:sp>
          <p:nvSpPr>
            <p:cNvPr id="196" name="Toggle On Background">
              <a:extLst>
                <a:ext uri="{FF2B5EF4-FFF2-40B4-BE49-F238E27FC236}">
                  <a16:creationId xmlns:a16="http://schemas.microsoft.com/office/drawing/2014/main" id="{69215CC1-E9BF-47AF-B743-62E41CB1AC37}"/>
                </a:ext>
              </a:extLst>
            </p:cNvPr>
            <p:cNvSpPr/>
            <p:nvPr/>
          </p:nvSpPr>
          <p:spPr>
            <a:xfrm>
              <a:off x="2008693" y="4179094"/>
              <a:ext cx="452737" cy="219456"/>
            </a:xfrm>
            <a:custGeom>
              <a:avLst/>
              <a:gdLst>
                <a:gd name="connsiteX0" fmla="*/ 0 w 452737"/>
                <a:gd name="connsiteY0" fmla="*/ 109728 h 219456"/>
                <a:gd name="connsiteX1" fmla="*/ 109728 w 452737"/>
                <a:gd name="connsiteY1" fmla="*/ 0 h 219456"/>
                <a:gd name="connsiteX2" fmla="*/ 343009 w 452737"/>
                <a:gd name="connsiteY2" fmla="*/ 0 h 219456"/>
                <a:gd name="connsiteX3" fmla="*/ 452737 w 452737"/>
                <a:gd name="connsiteY3" fmla="*/ 109728 h 219456"/>
                <a:gd name="connsiteX4" fmla="*/ 452737 w 452737"/>
                <a:gd name="connsiteY4" fmla="*/ 109728 h 219456"/>
                <a:gd name="connsiteX5" fmla="*/ 343009 w 452737"/>
                <a:gd name="connsiteY5" fmla="*/ 219456 h 219456"/>
                <a:gd name="connsiteX6" fmla="*/ 109728 w 452737"/>
                <a:gd name="connsiteY6" fmla="*/ 219456 h 219456"/>
                <a:gd name="connsiteX7" fmla="*/ 0 w 452737"/>
                <a:gd name="connsiteY7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737" h="219456" fill="none" extrusionOk="0">
                  <a:moveTo>
                    <a:pt x="0" y="109728"/>
                  </a:moveTo>
                  <a:cubicBezTo>
                    <a:pt x="-3167" y="60399"/>
                    <a:pt x="48283" y="1926"/>
                    <a:pt x="109728" y="0"/>
                  </a:cubicBezTo>
                  <a:cubicBezTo>
                    <a:pt x="180041" y="6664"/>
                    <a:pt x="268479" y="-1522"/>
                    <a:pt x="343009" y="0"/>
                  </a:cubicBezTo>
                  <a:cubicBezTo>
                    <a:pt x="401744" y="1507"/>
                    <a:pt x="451145" y="49374"/>
                    <a:pt x="452737" y="109728"/>
                  </a:cubicBezTo>
                  <a:lnTo>
                    <a:pt x="452737" y="109728"/>
                  </a:lnTo>
                  <a:cubicBezTo>
                    <a:pt x="458185" y="170082"/>
                    <a:pt x="401759" y="218861"/>
                    <a:pt x="343009" y="219456"/>
                  </a:cubicBezTo>
                  <a:cubicBezTo>
                    <a:pt x="291934" y="220931"/>
                    <a:pt x="168965" y="214273"/>
                    <a:pt x="109728" y="219456"/>
                  </a:cubicBezTo>
                  <a:cubicBezTo>
                    <a:pt x="38141" y="212738"/>
                    <a:pt x="537" y="172273"/>
                    <a:pt x="0" y="109728"/>
                  </a:cubicBezTo>
                  <a:close/>
                </a:path>
                <a:path w="452737" h="219456" stroke="0" extrusionOk="0">
                  <a:moveTo>
                    <a:pt x="0" y="109728"/>
                  </a:moveTo>
                  <a:cubicBezTo>
                    <a:pt x="-764" y="53579"/>
                    <a:pt x="54034" y="-2162"/>
                    <a:pt x="109728" y="0"/>
                  </a:cubicBezTo>
                  <a:cubicBezTo>
                    <a:pt x="197755" y="7894"/>
                    <a:pt x="254598" y="-4275"/>
                    <a:pt x="343009" y="0"/>
                  </a:cubicBezTo>
                  <a:cubicBezTo>
                    <a:pt x="398684" y="-11744"/>
                    <a:pt x="447065" y="38442"/>
                    <a:pt x="452737" y="109728"/>
                  </a:cubicBezTo>
                  <a:lnTo>
                    <a:pt x="452737" y="109728"/>
                  </a:lnTo>
                  <a:cubicBezTo>
                    <a:pt x="453762" y="175262"/>
                    <a:pt x="406648" y="221847"/>
                    <a:pt x="343009" y="219456"/>
                  </a:cubicBezTo>
                  <a:cubicBezTo>
                    <a:pt x="266331" y="210399"/>
                    <a:pt x="164324" y="230479"/>
                    <a:pt x="109728" y="219456"/>
                  </a:cubicBezTo>
                  <a:cubicBezTo>
                    <a:pt x="54231" y="209685"/>
                    <a:pt x="7418" y="177078"/>
                    <a:pt x="0" y="109728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n Text">
              <a:extLst>
                <a:ext uri="{FF2B5EF4-FFF2-40B4-BE49-F238E27FC236}">
                  <a16:creationId xmlns:a16="http://schemas.microsoft.com/office/drawing/2014/main" id="{6F2DD2FF-AE16-4080-BF7B-3E5F187E3468}"/>
                </a:ext>
              </a:extLst>
            </p:cNvPr>
            <p:cNvSpPr txBox="1"/>
            <p:nvPr/>
          </p:nvSpPr>
          <p:spPr>
            <a:xfrm>
              <a:off x="2080954" y="4189991"/>
              <a:ext cx="152739" cy="20774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N</a:t>
              </a:r>
            </a:p>
          </p:txBody>
        </p:sp>
        <p:sp>
          <p:nvSpPr>
            <p:cNvPr id="198" name="Circle">
              <a:extLst>
                <a:ext uri="{FF2B5EF4-FFF2-40B4-BE49-F238E27FC236}">
                  <a16:creationId xmlns:a16="http://schemas.microsoft.com/office/drawing/2014/main" id="{379E9C33-79F3-4F3A-B8A1-91458769B003}"/>
                </a:ext>
              </a:extLst>
            </p:cNvPr>
            <p:cNvSpPr/>
            <p:nvPr/>
          </p:nvSpPr>
          <p:spPr>
            <a:xfrm>
              <a:off x="2269641" y="4207116"/>
              <a:ext cx="171428" cy="171428"/>
            </a:xfrm>
            <a:custGeom>
              <a:avLst/>
              <a:gdLst>
                <a:gd name="connsiteX0" fmla="*/ 0 w 171428"/>
                <a:gd name="connsiteY0" fmla="*/ 85714 h 171428"/>
                <a:gd name="connsiteX1" fmla="*/ 85714 w 171428"/>
                <a:gd name="connsiteY1" fmla="*/ 0 h 171428"/>
                <a:gd name="connsiteX2" fmla="*/ 171428 w 171428"/>
                <a:gd name="connsiteY2" fmla="*/ 85714 h 171428"/>
                <a:gd name="connsiteX3" fmla="*/ 85714 w 171428"/>
                <a:gd name="connsiteY3" fmla="*/ 171428 h 171428"/>
                <a:gd name="connsiteX4" fmla="*/ 0 w 171428"/>
                <a:gd name="connsiteY4" fmla="*/ 85714 h 17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8" h="171428" fill="none" extrusionOk="0">
                  <a:moveTo>
                    <a:pt x="0" y="85714"/>
                  </a:moveTo>
                  <a:cubicBezTo>
                    <a:pt x="-7833" y="35205"/>
                    <a:pt x="44181" y="-6848"/>
                    <a:pt x="85714" y="0"/>
                  </a:cubicBezTo>
                  <a:cubicBezTo>
                    <a:pt x="132057" y="-4303"/>
                    <a:pt x="170658" y="32560"/>
                    <a:pt x="171428" y="85714"/>
                  </a:cubicBezTo>
                  <a:cubicBezTo>
                    <a:pt x="175482" y="132919"/>
                    <a:pt x="122274" y="172281"/>
                    <a:pt x="85714" y="171428"/>
                  </a:cubicBezTo>
                  <a:cubicBezTo>
                    <a:pt x="37309" y="173938"/>
                    <a:pt x="-2760" y="137186"/>
                    <a:pt x="0" y="85714"/>
                  </a:cubicBezTo>
                  <a:close/>
                </a:path>
                <a:path w="171428" h="171428" stroke="0" extrusionOk="0">
                  <a:moveTo>
                    <a:pt x="0" y="85714"/>
                  </a:moveTo>
                  <a:cubicBezTo>
                    <a:pt x="-9295" y="31645"/>
                    <a:pt x="48397" y="49"/>
                    <a:pt x="85714" y="0"/>
                  </a:cubicBezTo>
                  <a:cubicBezTo>
                    <a:pt x="132584" y="-1606"/>
                    <a:pt x="168830" y="36298"/>
                    <a:pt x="171428" y="85714"/>
                  </a:cubicBezTo>
                  <a:cubicBezTo>
                    <a:pt x="173834" y="131751"/>
                    <a:pt x="141927" y="173700"/>
                    <a:pt x="85714" y="171428"/>
                  </a:cubicBezTo>
                  <a:cubicBezTo>
                    <a:pt x="47027" y="177067"/>
                    <a:pt x="-66" y="129021"/>
                    <a:pt x="0" y="857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9" name="Add Box" descr="Add icon">
            <a:extLst>
              <a:ext uri="{FF2B5EF4-FFF2-40B4-BE49-F238E27FC236}">
                <a16:creationId xmlns:a16="http://schemas.microsoft.com/office/drawing/2014/main" id="{68877CA5-AFD2-4BC2-A0FC-5DD0E5610548}"/>
              </a:ext>
            </a:extLst>
          </p:cNvPr>
          <p:cNvGrpSpPr/>
          <p:nvPr/>
        </p:nvGrpSpPr>
        <p:grpSpPr>
          <a:xfrm>
            <a:off x="2492028" y="2077583"/>
            <a:ext cx="219456" cy="219456"/>
            <a:chOff x="2680552" y="3803553"/>
            <a:chExt cx="219456" cy="219456"/>
          </a:xfrm>
        </p:grpSpPr>
        <p:sp>
          <p:nvSpPr>
            <p:cNvPr id="200" name="Add Background">
              <a:extLst>
                <a:ext uri="{FF2B5EF4-FFF2-40B4-BE49-F238E27FC236}">
                  <a16:creationId xmlns:a16="http://schemas.microsoft.com/office/drawing/2014/main" id="{A3BA659F-778F-428E-9044-F5FE2DD9EAE3}"/>
                </a:ext>
              </a:extLst>
            </p:cNvPr>
            <p:cNvSpPr/>
            <p:nvPr/>
          </p:nvSpPr>
          <p:spPr>
            <a:xfrm>
              <a:off x="2680552" y="3803553"/>
              <a:ext cx="219456" cy="219456"/>
            </a:xfrm>
            <a:custGeom>
              <a:avLst/>
              <a:gdLst>
                <a:gd name="connsiteX0" fmla="*/ 0 w 219456"/>
                <a:gd name="connsiteY0" fmla="*/ 8004 h 219456"/>
                <a:gd name="connsiteX1" fmla="*/ 8004 w 219456"/>
                <a:gd name="connsiteY1" fmla="*/ 0 h 219456"/>
                <a:gd name="connsiteX2" fmla="*/ 211452 w 219456"/>
                <a:gd name="connsiteY2" fmla="*/ 0 h 219456"/>
                <a:gd name="connsiteX3" fmla="*/ 219456 w 219456"/>
                <a:gd name="connsiteY3" fmla="*/ 8004 h 219456"/>
                <a:gd name="connsiteX4" fmla="*/ 219456 w 219456"/>
                <a:gd name="connsiteY4" fmla="*/ 211452 h 219456"/>
                <a:gd name="connsiteX5" fmla="*/ 211452 w 219456"/>
                <a:gd name="connsiteY5" fmla="*/ 219456 h 219456"/>
                <a:gd name="connsiteX6" fmla="*/ 8004 w 219456"/>
                <a:gd name="connsiteY6" fmla="*/ 219456 h 219456"/>
                <a:gd name="connsiteX7" fmla="*/ 0 w 219456"/>
                <a:gd name="connsiteY7" fmla="*/ 211452 h 219456"/>
                <a:gd name="connsiteX8" fmla="*/ 0 w 219456"/>
                <a:gd name="connsiteY8" fmla="*/ 8004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456" h="219456" fill="none" extrusionOk="0">
                  <a:moveTo>
                    <a:pt x="0" y="8004"/>
                  </a:moveTo>
                  <a:cubicBezTo>
                    <a:pt x="269" y="3355"/>
                    <a:pt x="3766" y="857"/>
                    <a:pt x="8004" y="0"/>
                  </a:cubicBezTo>
                  <a:cubicBezTo>
                    <a:pt x="69343" y="7917"/>
                    <a:pt x="111488" y="2613"/>
                    <a:pt x="211452" y="0"/>
                  </a:cubicBezTo>
                  <a:cubicBezTo>
                    <a:pt x="216699" y="73"/>
                    <a:pt x="219251" y="2931"/>
                    <a:pt x="219456" y="8004"/>
                  </a:cubicBezTo>
                  <a:cubicBezTo>
                    <a:pt x="217588" y="84895"/>
                    <a:pt x="221247" y="127438"/>
                    <a:pt x="219456" y="211452"/>
                  </a:cubicBezTo>
                  <a:cubicBezTo>
                    <a:pt x="219264" y="215311"/>
                    <a:pt x="215976" y="218917"/>
                    <a:pt x="211452" y="219456"/>
                  </a:cubicBezTo>
                  <a:cubicBezTo>
                    <a:pt x="135071" y="224886"/>
                    <a:pt x="66737" y="210565"/>
                    <a:pt x="8004" y="219456"/>
                  </a:cubicBezTo>
                  <a:cubicBezTo>
                    <a:pt x="4063" y="218618"/>
                    <a:pt x="86" y="216416"/>
                    <a:pt x="0" y="211452"/>
                  </a:cubicBezTo>
                  <a:cubicBezTo>
                    <a:pt x="183" y="163631"/>
                    <a:pt x="377" y="76869"/>
                    <a:pt x="0" y="8004"/>
                  </a:cubicBezTo>
                  <a:close/>
                </a:path>
                <a:path w="219456" h="219456" stroke="0" extrusionOk="0">
                  <a:moveTo>
                    <a:pt x="0" y="8004"/>
                  </a:moveTo>
                  <a:cubicBezTo>
                    <a:pt x="-376" y="3312"/>
                    <a:pt x="3825" y="1"/>
                    <a:pt x="8004" y="0"/>
                  </a:cubicBezTo>
                  <a:cubicBezTo>
                    <a:pt x="105082" y="-1257"/>
                    <a:pt x="153907" y="7797"/>
                    <a:pt x="211452" y="0"/>
                  </a:cubicBezTo>
                  <a:cubicBezTo>
                    <a:pt x="216139" y="418"/>
                    <a:pt x="218736" y="3268"/>
                    <a:pt x="219456" y="8004"/>
                  </a:cubicBezTo>
                  <a:cubicBezTo>
                    <a:pt x="227716" y="89539"/>
                    <a:pt x="220491" y="139292"/>
                    <a:pt x="219456" y="211452"/>
                  </a:cubicBezTo>
                  <a:cubicBezTo>
                    <a:pt x="219655" y="215638"/>
                    <a:pt x="215699" y="218707"/>
                    <a:pt x="211452" y="219456"/>
                  </a:cubicBezTo>
                  <a:cubicBezTo>
                    <a:pt x="143237" y="212591"/>
                    <a:pt x="75664" y="209985"/>
                    <a:pt x="8004" y="219456"/>
                  </a:cubicBezTo>
                  <a:cubicBezTo>
                    <a:pt x="4459" y="219247"/>
                    <a:pt x="-198" y="215996"/>
                    <a:pt x="0" y="211452"/>
                  </a:cubicBezTo>
                  <a:cubicBezTo>
                    <a:pt x="5973" y="121162"/>
                    <a:pt x="-5842" y="81151"/>
                    <a:pt x="0" y="800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roundRect">
                      <a:avLst>
                        <a:gd name="adj" fmla="val 364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1" name="Add Icon" descr="Add">
              <a:extLst>
                <a:ext uri="{FF2B5EF4-FFF2-40B4-BE49-F238E27FC236}">
                  <a16:creationId xmlns:a16="http://schemas.microsoft.com/office/drawing/2014/main" id="{5C7357D4-49F1-4EF6-B724-BD688A786B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23296" y="3845460"/>
              <a:ext cx="137160" cy="137160"/>
            </a:xfrm>
            <a:prstGeom prst="rect">
              <a:avLst/>
            </a:prstGeom>
          </p:spPr>
        </p:pic>
      </p:grpSp>
      <p:grpSp>
        <p:nvGrpSpPr>
          <p:cNvPr id="202" name="Check Box" descr="Checked box icon">
            <a:extLst>
              <a:ext uri="{FF2B5EF4-FFF2-40B4-BE49-F238E27FC236}">
                <a16:creationId xmlns:a16="http://schemas.microsoft.com/office/drawing/2014/main" id="{DC2A1F71-C66E-4712-8575-1D00410C1842}"/>
              </a:ext>
            </a:extLst>
          </p:cNvPr>
          <p:cNvGrpSpPr/>
          <p:nvPr/>
        </p:nvGrpSpPr>
        <p:grpSpPr>
          <a:xfrm>
            <a:off x="2139978" y="2077637"/>
            <a:ext cx="219456" cy="219456"/>
            <a:chOff x="2328502" y="3803607"/>
            <a:chExt cx="219456" cy="219456"/>
          </a:xfrm>
        </p:grpSpPr>
        <p:sp>
          <p:nvSpPr>
            <p:cNvPr id="203" name="Check Box Background">
              <a:extLst>
                <a:ext uri="{FF2B5EF4-FFF2-40B4-BE49-F238E27FC236}">
                  <a16:creationId xmlns:a16="http://schemas.microsoft.com/office/drawing/2014/main" id="{9C127DA3-FFE1-4AFA-9EB6-119EBC5DD6A9}"/>
                </a:ext>
              </a:extLst>
            </p:cNvPr>
            <p:cNvSpPr/>
            <p:nvPr/>
          </p:nvSpPr>
          <p:spPr>
            <a:xfrm>
              <a:off x="2328502" y="3803607"/>
              <a:ext cx="219456" cy="219456"/>
            </a:xfrm>
            <a:custGeom>
              <a:avLst/>
              <a:gdLst>
                <a:gd name="connsiteX0" fmla="*/ 0 w 219456"/>
                <a:gd name="connsiteY0" fmla="*/ 10382 h 219456"/>
                <a:gd name="connsiteX1" fmla="*/ 10382 w 219456"/>
                <a:gd name="connsiteY1" fmla="*/ 0 h 219456"/>
                <a:gd name="connsiteX2" fmla="*/ 209074 w 219456"/>
                <a:gd name="connsiteY2" fmla="*/ 0 h 219456"/>
                <a:gd name="connsiteX3" fmla="*/ 219456 w 219456"/>
                <a:gd name="connsiteY3" fmla="*/ 10382 h 219456"/>
                <a:gd name="connsiteX4" fmla="*/ 219456 w 219456"/>
                <a:gd name="connsiteY4" fmla="*/ 209074 h 219456"/>
                <a:gd name="connsiteX5" fmla="*/ 209074 w 219456"/>
                <a:gd name="connsiteY5" fmla="*/ 219456 h 219456"/>
                <a:gd name="connsiteX6" fmla="*/ 10382 w 219456"/>
                <a:gd name="connsiteY6" fmla="*/ 219456 h 219456"/>
                <a:gd name="connsiteX7" fmla="*/ 0 w 219456"/>
                <a:gd name="connsiteY7" fmla="*/ 209074 h 219456"/>
                <a:gd name="connsiteX8" fmla="*/ 0 w 219456"/>
                <a:gd name="connsiteY8" fmla="*/ 10382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456" h="219456" fill="none" extrusionOk="0">
                  <a:moveTo>
                    <a:pt x="0" y="10382"/>
                  </a:moveTo>
                  <a:cubicBezTo>
                    <a:pt x="504" y="4220"/>
                    <a:pt x="4687" y="182"/>
                    <a:pt x="10382" y="0"/>
                  </a:cubicBezTo>
                  <a:cubicBezTo>
                    <a:pt x="88446" y="9069"/>
                    <a:pt x="154097" y="7415"/>
                    <a:pt x="209074" y="0"/>
                  </a:cubicBezTo>
                  <a:cubicBezTo>
                    <a:pt x="215966" y="103"/>
                    <a:pt x="219279" y="4086"/>
                    <a:pt x="219456" y="10382"/>
                  </a:cubicBezTo>
                  <a:cubicBezTo>
                    <a:pt x="216968" y="51821"/>
                    <a:pt x="215175" y="143020"/>
                    <a:pt x="219456" y="209074"/>
                  </a:cubicBezTo>
                  <a:cubicBezTo>
                    <a:pt x="219108" y="213792"/>
                    <a:pt x="214949" y="218725"/>
                    <a:pt x="209074" y="219456"/>
                  </a:cubicBezTo>
                  <a:cubicBezTo>
                    <a:pt x="161391" y="221934"/>
                    <a:pt x="92937" y="224151"/>
                    <a:pt x="10382" y="219456"/>
                  </a:cubicBezTo>
                  <a:cubicBezTo>
                    <a:pt x="4978" y="218879"/>
                    <a:pt x="151" y="215761"/>
                    <a:pt x="0" y="209074"/>
                  </a:cubicBezTo>
                  <a:cubicBezTo>
                    <a:pt x="-626" y="142710"/>
                    <a:pt x="109" y="50664"/>
                    <a:pt x="0" y="10382"/>
                  </a:cubicBezTo>
                  <a:close/>
                </a:path>
                <a:path w="219456" h="219456" stroke="0" extrusionOk="0">
                  <a:moveTo>
                    <a:pt x="0" y="10382"/>
                  </a:moveTo>
                  <a:cubicBezTo>
                    <a:pt x="-779" y="4084"/>
                    <a:pt x="5830" y="6"/>
                    <a:pt x="10382" y="0"/>
                  </a:cubicBezTo>
                  <a:cubicBezTo>
                    <a:pt x="61956" y="-3502"/>
                    <a:pt x="135992" y="8194"/>
                    <a:pt x="209074" y="0"/>
                  </a:cubicBezTo>
                  <a:cubicBezTo>
                    <a:pt x="215231" y="662"/>
                    <a:pt x="218493" y="4225"/>
                    <a:pt x="219456" y="10382"/>
                  </a:cubicBezTo>
                  <a:cubicBezTo>
                    <a:pt x="216827" y="64953"/>
                    <a:pt x="211663" y="154771"/>
                    <a:pt x="219456" y="209074"/>
                  </a:cubicBezTo>
                  <a:cubicBezTo>
                    <a:pt x="219831" y="214365"/>
                    <a:pt x="214517" y="218198"/>
                    <a:pt x="209074" y="219456"/>
                  </a:cubicBezTo>
                  <a:cubicBezTo>
                    <a:pt x="160626" y="225438"/>
                    <a:pt x="95108" y="215753"/>
                    <a:pt x="10382" y="219456"/>
                  </a:cubicBezTo>
                  <a:cubicBezTo>
                    <a:pt x="5250" y="219312"/>
                    <a:pt x="-137" y="214894"/>
                    <a:pt x="0" y="209074"/>
                  </a:cubicBezTo>
                  <a:cubicBezTo>
                    <a:pt x="-4535" y="121806"/>
                    <a:pt x="6221" y="57278"/>
                    <a:pt x="0" y="10382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roundRect">
                      <a:avLst>
                        <a:gd name="adj" fmla="val 4731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4" name="Check Icon" descr="Checkmark">
              <a:extLst>
                <a:ext uri="{FF2B5EF4-FFF2-40B4-BE49-F238E27FC236}">
                  <a16:creationId xmlns:a16="http://schemas.microsoft.com/office/drawing/2014/main" id="{253D33D5-B093-4E87-BB1C-38CD0BCF506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374222" y="3842114"/>
              <a:ext cx="137160" cy="137160"/>
            </a:xfrm>
            <a:prstGeom prst="rect">
              <a:avLst/>
            </a:prstGeom>
          </p:spPr>
        </p:pic>
      </p:grpSp>
      <p:sp>
        <p:nvSpPr>
          <p:cNvPr id="205" name="Selection Box" descr="Option Box Icon">
            <a:extLst>
              <a:ext uri="{FF2B5EF4-FFF2-40B4-BE49-F238E27FC236}">
                <a16:creationId xmlns:a16="http://schemas.microsoft.com/office/drawing/2014/main" id="{73571519-F68A-420C-8732-D188D76D0C58}"/>
              </a:ext>
            </a:extLst>
          </p:cNvPr>
          <p:cNvSpPr/>
          <p:nvPr/>
        </p:nvSpPr>
        <p:spPr>
          <a:xfrm>
            <a:off x="1820168" y="2081245"/>
            <a:ext cx="219671" cy="219456"/>
          </a:xfrm>
          <a:custGeom>
            <a:avLst/>
            <a:gdLst>
              <a:gd name="connsiteX0" fmla="*/ 0 w 219671"/>
              <a:gd name="connsiteY0" fmla="*/ 8004 h 219456"/>
              <a:gd name="connsiteX1" fmla="*/ 8004 w 219671"/>
              <a:gd name="connsiteY1" fmla="*/ 0 h 219456"/>
              <a:gd name="connsiteX2" fmla="*/ 211667 w 219671"/>
              <a:gd name="connsiteY2" fmla="*/ 0 h 219456"/>
              <a:gd name="connsiteX3" fmla="*/ 219671 w 219671"/>
              <a:gd name="connsiteY3" fmla="*/ 8004 h 219456"/>
              <a:gd name="connsiteX4" fmla="*/ 219671 w 219671"/>
              <a:gd name="connsiteY4" fmla="*/ 211452 h 219456"/>
              <a:gd name="connsiteX5" fmla="*/ 211667 w 219671"/>
              <a:gd name="connsiteY5" fmla="*/ 219456 h 219456"/>
              <a:gd name="connsiteX6" fmla="*/ 8004 w 219671"/>
              <a:gd name="connsiteY6" fmla="*/ 219456 h 219456"/>
              <a:gd name="connsiteX7" fmla="*/ 0 w 219671"/>
              <a:gd name="connsiteY7" fmla="*/ 211452 h 219456"/>
              <a:gd name="connsiteX8" fmla="*/ 0 w 219671"/>
              <a:gd name="connsiteY8" fmla="*/ 8004 h 219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71" h="219456" fill="none" extrusionOk="0">
                <a:moveTo>
                  <a:pt x="0" y="8004"/>
                </a:moveTo>
                <a:cubicBezTo>
                  <a:pt x="269" y="3355"/>
                  <a:pt x="3766" y="857"/>
                  <a:pt x="8004" y="0"/>
                </a:cubicBezTo>
                <a:cubicBezTo>
                  <a:pt x="75973" y="2996"/>
                  <a:pt x="110167" y="7115"/>
                  <a:pt x="211667" y="0"/>
                </a:cubicBezTo>
                <a:cubicBezTo>
                  <a:pt x="216914" y="73"/>
                  <a:pt x="219466" y="2931"/>
                  <a:pt x="219671" y="8004"/>
                </a:cubicBezTo>
                <a:cubicBezTo>
                  <a:pt x="217803" y="84895"/>
                  <a:pt x="221462" y="127438"/>
                  <a:pt x="219671" y="211452"/>
                </a:cubicBezTo>
                <a:cubicBezTo>
                  <a:pt x="219479" y="215311"/>
                  <a:pt x="216191" y="218917"/>
                  <a:pt x="211667" y="219456"/>
                </a:cubicBezTo>
                <a:cubicBezTo>
                  <a:pt x="151911" y="224696"/>
                  <a:pt x="97437" y="220337"/>
                  <a:pt x="8004" y="219456"/>
                </a:cubicBezTo>
                <a:cubicBezTo>
                  <a:pt x="4063" y="218618"/>
                  <a:pt x="86" y="216416"/>
                  <a:pt x="0" y="211452"/>
                </a:cubicBezTo>
                <a:cubicBezTo>
                  <a:pt x="183" y="163631"/>
                  <a:pt x="377" y="76869"/>
                  <a:pt x="0" y="8004"/>
                </a:cubicBezTo>
                <a:close/>
              </a:path>
              <a:path w="219671" h="219456" stroke="0" extrusionOk="0">
                <a:moveTo>
                  <a:pt x="0" y="8004"/>
                </a:moveTo>
                <a:cubicBezTo>
                  <a:pt x="-376" y="3312"/>
                  <a:pt x="3825" y="1"/>
                  <a:pt x="8004" y="0"/>
                </a:cubicBezTo>
                <a:cubicBezTo>
                  <a:pt x="99117" y="-2641"/>
                  <a:pt x="125183" y="6501"/>
                  <a:pt x="211667" y="0"/>
                </a:cubicBezTo>
                <a:cubicBezTo>
                  <a:pt x="216354" y="418"/>
                  <a:pt x="218951" y="3268"/>
                  <a:pt x="219671" y="8004"/>
                </a:cubicBezTo>
                <a:cubicBezTo>
                  <a:pt x="227931" y="89539"/>
                  <a:pt x="220706" y="139292"/>
                  <a:pt x="219671" y="211452"/>
                </a:cubicBezTo>
                <a:cubicBezTo>
                  <a:pt x="219870" y="215638"/>
                  <a:pt x="215914" y="218707"/>
                  <a:pt x="211667" y="219456"/>
                </a:cubicBezTo>
                <a:cubicBezTo>
                  <a:pt x="168013" y="228728"/>
                  <a:pt x="72586" y="219567"/>
                  <a:pt x="8004" y="219456"/>
                </a:cubicBezTo>
                <a:cubicBezTo>
                  <a:pt x="4459" y="219247"/>
                  <a:pt x="-198" y="215996"/>
                  <a:pt x="0" y="211452"/>
                </a:cubicBezTo>
                <a:cubicBezTo>
                  <a:pt x="5973" y="121162"/>
                  <a:pt x="-5842" y="81151"/>
                  <a:pt x="0" y="8004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  <a:extLst>
              <a:ext uri="{C807C97D-BFC1-408E-A445-0C87EB9F89A2}">
                <ask:lineSketchStyleProps xmlns:ask="http://schemas.microsoft.com/office/drawing/2018/sketchyshapes" sd="662386096">
                  <a:prstGeom prst="roundRect">
                    <a:avLst>
                      <a:gd name="adj" fmla="val 3647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6" name="Selected Circle Button" descr="Selected Circle Button">
            <a:extLst>
              <a:ext uri="{FF2B5EF4-FFF2-40B4-BE49-F238E27FC236}">
                <a16:creationId xmlns:a16="http://schemas.microsoft.com/office/drawing/2014/main" id="{335E180C-1AB4-45FA-88BF-3370F878DD61}"/>
              </a:ext>
            </a:extLst>
          </p:cNvPr>
          <p:cNvGrpSpPr/>
          <p:nvPr/>
        </p:nvGrpSpPr>
        <p:grpSpPr>
          <a:xfrm>
            <a:off x="2139978" y="1659934"/>
            <a:ext cx="219456" cy="219456"/>
            <a:chOff x="2328502" y="3428395"/>
            <a:chExt cx="219456" cy="219456"/>
          </a:xfrm>
        </p:grpSpPr>
        <p:sp>
          <p:nvSpPr>
            <p:cNvPr id="207" name="Circle">
              <a:extLst>
                <a:ext uri="{FF2B5EF4-FFF2-40B4-BE49-F238E27FC236}">
                  <a16:creationId xmlns:a16="http://schemas.microsoft.com/office/drawing/2014/main" id="{9EB3522A-3898-4C3E-82F3-2DA89B9BA2A0}"/>
                </a:ext>
              </a:extLst>
            </p:cNvPr>
            <p:cNvSpPr/>
            <p:nvPr/>
          </p:nvSpPr>
          <p:spPr>
            <a:xfrm>
              <a:off x="2328502" y="3428395"/>
              <a:ext cx="219456" cy="219456"/>
            </a:xfrm>
            <a:custGeom>
              <a:avLst/>
              <a:gdLst>
                <a:gd name="connsiteX0" fmla="*/ 0 w 219456"/>
                <a:gd name="connsiteY0" fmla="*/ 109728 h 219456"/>
                <a:gd name="connsiteX1" fmla="*/ 109728 w 219456"/>
                <a:gd name="connsiteY1" fmla="*/ 0 h 219456"/>
                <a:gd name="connsiteX2" fmla="*/ 219456 w 219456"/>
                <a:gd name="connsiteY2" fmla="*/ 109728 h 219456"/>
                <a:gd name="connsiteX3" fmla="*/ 109728 w 219456"/>
                <a:gd name="connsiteY3" fmla="*/ 219456 h 219456"/>
                <a:gd name="connsiteX4" fmla="*/ 0 w 219456"/>
                <a:gd name="connsiteY4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456" h="219456" fill="none" extrusionOk="0">
                  <a:moveTo>
                    <a:pt x="0" y="109728"/>
                  </a:moveTo>
                  <a:cubicBezTo>
                    <a:pt x="-3259" y="47808"/>
                    <a:pt x="51839" y="-3199"/>
                    <a:pt x="109728" y="0"/>
                  </a:cubicBezTo>
                  <a:cubicBezTo>
                    <a:pt x="168740" y="-6867"/>
                    <a:pt x="218417" y="41279"/>
                    <a:pt x="219456" y="109728"/>
                  </a:cubicBezTo>
                  <a:cubicBezTo>
                    <a:pt x="222874" y="170216"/>
                    <a:pt x="160451" y="220237"/>
                    <a:pt x="109728" y="219456"/>
                  </a:cubicBezTo>
                  <a:cubicBezTo>
                    <a:pt x="44105" y="231281"/>
                    <a:pt x="-784" y="171502"/>
                    <a:pt x="0" y="109728"/>
                  </a:cubicBezTo>
                  <a:close/>
                </a:path>
                <a:path w="219456" h="219456" stroke="0" extrusionOk="0">
                  <a:moveTo>
                    <a:pt x="0" y="109728"/>
                  </a:moveTo>
                  <a:cubicBezTo>
                    <a:pt x="-6624" y="44331"/>
                    <a:pt x="59422" y="50"/>
                    <a:pt x="109728" y="0"/>
                  </a:cubicBezTo>
                  <a:cubicBezTo>
                    <a:pt x="169397" y="-3194"/>
                    <a:pt x="210318" y="41822"/>
                    <a:pt x="219456" y="109728"/>
                  </a:cubicBezTo>
                  <a:cubicBezTo>
                    <a:pt x="228105" y="165648"/>
                    <a:pt x="172063" y="219900"/>
                    <a:pt x="109728" y="219456"/>
                  </a:cubicBezTo>
                  <a:cubicBezTo>
                    <a:pt x="55932" y="223891"/>
                    <a:pt x="-26" y="168765"/>
                    <a:pt x="0" y="109728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Filled Circle">
              <a:extLst>
                <a:ext uri="{FF2B5EF4-FFF2-40B4-BE49-F238E27FC236}">
                  <a16:creationId xmlns:a16="http://schemas.microsoft.com/office/drawing/2014/main" id="{A871C284-E3FB-4771-B2E6-C144814B1D2D}"/>
                </a:ext>
              </a:extLst>
            </p:cNvPr>
            <p:cNvSpPr/>
            <p:nvPr/>
          </p:nvSpPr>
          <p:spPr>
            <a:xfrm>
              <a:off x="2354533" y="3454992"/>
              <a:ext cx="164306" cy="164306"/>
            </a:xfrm>
            <a:custGeom>
              <a:avLst/>
              <a:gdLst>
                <a:gd name="connsiteX0" fmla="*/ 0 w 164306"/>
                <a:gd name="connsiteY0" fmla="*/ 82153 h 164306"/>
                <a:gd name="connsiteX1" fmla="*/ 82153 w 164306"/>
                <a:gd name="connsiteY1" fmla="*/ 0 h 164306"/>
                <a:gd name="connsiteX2" fmla="*/ 164306 w 164306"/>
                <a:gd name="connsiteY2" fmla="*/ 82153 h 164306"/>
                <a:gd name="connsiteX3" fmla="*/ 82153 w 164306"/>
                <a:gd name="connsiteY3" fmla="*/ 164306 h 164306"/>
                <a:gd name="connsiteX4" fmla="*/ 0 w 164306"/>
                <a:gd name="connsiteY4" fmla="*/ 82153 h 164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306" h="164306" fill="none" extrusionOk="0">
                  <a:moveTo>
                    <a:pt x="0" y="82153"/>
                  </a:moveTo>
                  <a:cubicBezTo>
                    <a:pt x="-3533" y="35351"/>
                    <a:pt x="41002" y="-4978"/>
                    <a:pt x="82153" y="0"/>
                  </a:cubicBezTo>
                  <a:cubicBezTo>
                    <a:pt x="126229" y="-5599"/>
                    <a:pt x="163726" y="32399"/>
                    <a:pt x="164306" y="82153"/>
                  </a:cubicBezTo>
                  <a:cubicBezTo>
                    <a:pt x="167625" y="127415"/>
                    <a:pt x="121831" y="164756"/>
                    <a:pt x="82153" y="164306"/>
                  </a:cubicBezTo>
                  <a:cubicBezTo>
                    <a:pt x="33233" y="172660"/>
                    <a:pt x="-5924" y="136395"/>
                    <a:pt x="0" y="82153"/>
                  </a:cubicBezTo>
                  <a:close/>
                </a:path>
                <a:path w="164306" h="164306" stroke="0" extrusionOk="0">
                  <a:moveTo>
                    <a:pt x="0" y="82153"/>
                  </a:moveTo>
                  <a:cubicBezTo>
                    <a:pt x="-7700" y="31206"/>
                    <a:pt x="47158" y="50"/>
                    <a:pt x="82153" y="0"/>
                  </a:cubicBezTo>
                  <a:cubicBezTo>
                    <a:pt x="126889" y="-2179"/>
                    <a:pt x="156105" y="30225"/>
                    <a:pt x="164306" y="82153"/>
                  </a:cubicBezTo>
                  <a:cubicBezTo>
                    <a:pt x="169988" y="124450"/>
                    <a:pt x="137003" y="166732"/>
                    <a:pt x="82153" y="164306"/>
                  </a:cubicBezTo>
                  <a:cubicBezTo>
                    <a:pt x="45958" y="170287"/>
                    <a:pt x="-143" y="118808"/>
                    <a:pt x="0" y="82153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  <a:alpha val="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9" name="Circle Button" descr="Unselected Circle Icon">
            <a:extLst>
              <a:ext uri="{FF2B5EF4-FFF2-40B4-BE49-F238E27FC236}">
                <a16:creationId xmlns:a16="http://schemas.microsoft.com/office/drawing/2014/main" id="{5B237BD2-48B6-4510-BF34-E75F6DD57583}"/>
              </a:ext>
            </a:extLst>
          </p:cNvPr>
          <p:cNvSpPr/>
          <p:nvPr/>
        </p:nvSpPr>
        <p:spPr>
          <a:xfrm>
            <a:off x="1825713" y="1659934"/>
            <a:ext cx="219456" cy="219456"/>
          </a:xfrm>
          <a:custGeom>
            <a:avLst/>
            <a:gdLst>
              <a:gd name="connsiteX0" fmla="*/ 0 w 219456"/>
              <a:gd name="connsiteY0" fmla="*/ 109728 h 219456"/>
              <a:gd name="connsiteX1" fmla="*/ 109728 w 219456"/>
              <a:gd name="connsiteY1" fmla="*/ 0 h 219456"/>
              <a:gd name="connsiteX2" fmla="*/ 219456 w 219456"/>
              <a:gd name="connsiteY2" fmla="*/ 109728 h 219456"/>
              <a:gd name="connsiteX3" fmla="*/ 109728 w 219456"/>
              <a:gd name="connsiteY3" fmla="*/ 219456 h 219456"/>
              <a:gd name="connsiteX4" fmla="*/ 0 w 219456"/>
              <a:gd name="connsiteY4" fmla="*/ 109728 h 219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56" h="219456" fill="none" extrusionOk="0">
                <a:moveTo>
                  <a:pt x="0" y="109728"/>
                </a:moveTo>
                <a:cubicBezTo>
                  <a:pt x="-3259" y="47808"/>
                  <a:pt x="51839" y="-3199"/>
                  <a:pt x="109728" y="0"/>
                </a:cubicBezTo>
                <a:cubicBezTo>
                  <a:pt x="168740" y="-6867"/>
                  <a:pt x="218417" y="41279"/>
                  <a:pt x="219456" y="109728"/>
                </a:cubicBezTo>
                <a:cubicBezTo>
                  <a:pt x="222874" y="170216"/>
                  <a:pt x="160451" y="220237"/>
                  <a:pt x="109728" y="219456"/>
                </a:cubicBezTo>
                <a:cubicBezTo>
                  <a:pt x="44105" y="231281"/>
                  <a:pt x="-784" y="171502"/>
                  <a:pt x="0" y="109728"/>
                </a:cubicBezTo>
                <a:close/>
              </a:path>
              <a:path w="219456" h="219456" stroke="0" extrusionOk="0">
                <a:moveTo>
                  <a:pt x="0" y="109728"/>
                </a:moveTo>
                <a:cubicBezTo>
                  <a:pt x="-6624" y="44331"/>
                  <a:pt x="59422" y="50"/>
                  <a:pt x="109728" y="0"/>
                </a:cubicBezTo>
                <a:cubicBezTo>
                  <a:pt x="169397" y="-3194"/>
                  <a:pt x="210318" y="41822"/>
                  <a:pt x="219456" y="109728"/>
                </a:cubicBezTo>
                <a:cubicBezTo>
                  <a:pt x="228105" y="165648"/>
                  <a:pt x="172063" y="219900"/>
                  <a:pt x="109728" y="219456"/>
                </a:cubicBezTo>
                <a:cubicBezTo>
                  <a:pt x="55932" y="223891"/>
                  <a:pt x="-26" y="168765"/>
                  <a:pt x="0" y="109728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  <a:extLst>
              <a:ext uri="{C807C97D-BFC1-408E-A445-0C87EB9F89A2}">
                <ask:lineSketchStyleProps xmlns:ask="http://schemas.microsoft.com/office/drawing/2018/sketchyshapes" sd="662386096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0" name="Search Box 3" descr="Search Box 3">
            <a:extLst>
              <a:ext uri="{FF2B5EF4-FFF2-40B4-BE49-F238E27FC236}">
                <a16:creationId xmlns:a16="http://schemas.microsoft.com/office/drawing/2014/main" id="{16EDAEAB-386A-40F2-9313-3B9BB32A8BD9}"/>
              </a:ext>
            </a:extLst>
          </p:cNvPr>
          <p:cNvGrpSpPr/>
          <p:nvPr/>
        </p:nvGrpSpPr>
        <p:grpSpPr>
          <a:xfrm>
            <a:off x="1765866" y="2900457"/>
            <a:ext cx="1098373" cy="222624"/>
            <a:chOff x="1954390" y="4940350"/>
            <a:chExt cx="1098373" cy="222624"/>
          </a:xfrm>
        </p:grpSpPr>
        <p:sp>
          <p:nvSpPr>
            <p:cNvPr id="211" name="Search Box">
              <a:extLst>
                <a:ext uri="{FF2B5EF4-FFF2-40B4-BE49-F238E27FC236}">
                  <a16:creationId xmlns:a16="http://schemas.microsoft.com/office/drawing/2014/main" id="{723F7D19-DB0B-4809-AFEB-365CF4F80CEA}"/>
                </a:ext>
              </a:extLst>
            </p:cNvPr>
            <p:cNvSpPr/>
            <p:nvPr/>
          </p:nvSpPr>
          <p:spPr>
            <a:xfrm>
              <a:off x="1963068" y="4940350"/>
              <a:ext cx="1089695" cy="222624"/>
            </a:xfrm>
            <a:custGeom>
              <a:avLst/>
              <a:gdLst>
                <a:gd name="connsiteX0" fmla="*/ 0 w 1089695"/>
                <a:gd name="connsiteY0" fmla="*/ 10913 h 222624"/>
                <a:gd name="connsiteX1" fmla="*/ 10913 w 1089695"/>
                <a:gd name="connsiteY1" fmla="*/ 0 h 222624"/>
                <a:gd name="connsiteX2" fmla="*/ 523490 w 1089695"/>
                <a:gd name="connsiteY2" fmla="*/ 0 h 222624"/>
                <a:gd name="connsiteX3" fmla="*/ 1078782 w 1089695"/>
                <a:gd name="connsiteY3" fmla="*/ 0 h 222624"/>
                <a:gd name="connsiteX4" fmla="*/ 1089695 w 1089695"/>
                <a:gd name="connsiteY4" fmla="*/ 10913 h 222624"/>
                <a:gd name="connsiteX5" fmla="*/ 1089695 w 1089695"/>
                <a:gd name="connsiteY5" fmla="*/ 211711 h 222624"/>
                <a:gd name="connsiteX6" fmla="*/ 1078782 w 1089695"/>
                <a:gd name="connsiteY6" fmla="*/ 222624 h 222624"/>
                <a:gd name="connsiteX7" fmla="*/ 523490 w 1089695"/>
                <a:gd name="connsiteY7" fmla="*/ 222624 h 222624"/>
                <a:gd name="connsiteX8" fmla="*/ 10913 w 1089695"/>
                <a:gd name="connsiteY8" fmla="*/ 222624 h 222624"/>
                <a:gd name="connsiteX9" fmla="*/ 0 w 1089695"/>
                <a:gd name="connsiteY9" fmla="*/ 211711 h 222624"/>
                <a:gd name="connsiteX10" fmla="*/ 0 w 1089695"/>
                <a:gd name="connsiteY10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9695" h="222624" fill="none" extrusionOk="0">
                  <a:moveTo>
                    <a:pt x="0" y="10913"/>
                  </a:moveTo>
                  <a:cubicBezTo>
                    <a:pt x="56" y="4059"/>
                    <a:pt x="4461" y="748"/>
                    <a:pt x="10913" y="0"/>
                  </a:cubicBezTo>
                  <a:cubicBezTo>
                    <a:pt x="117461" y="11850"/>
                    <a:pt x="288897" y="-5440"/>
                    <a:pt x="523490" y="0"/>
                  </a:cubicBezTo>
                  <a:cubicBezTo>
                    <a:pt x="758083" y="5440"/>
                    <a:pt x="841091" y="-14451"/>
                    <a:pt x="1078782" y="0"/>
                  </a:cubicBezTo>
                  <a:cubicBezTo>
                    <a:pt x="1084568" y="64"/>
                    <a:pt x="1089757" y="4197"/>
                    <a:pt x="1089695" y="10913"/>
                  </a:cubicBezTo>
                  <a:cubicBezTo>
                    <a:pt x="1096850" y="56299"/>
                    <a:pt x="1087172" y="114524"/>
                    <a:pt x="1089695" y="211711"/>
                  </a:cubicBezTo>
                  <a:cubicBezTo>
                    <a:pt x="1089488" y="218244"/>
                    <a:pt x="1085029" y="222994"/>
                    <a:pt x="1078782" y="222624"/>
                  </a:cubicBezTo>
                  <a:cubicBezTo>
                    <a:pt x="851585" y="232671"/>
                    <a:pt x="714792" y="215597"/>
                    <a:pt x="523490" y="222624"/>
                  </a:cubicBezTo>
                  <a:cubicBezTo>
                    <a:pt x="332188" y="229651"/>
                    <a:pt x="239642" y="233911"/>
                    <a:pt x="10913" y="222624"/>
                  </a:cubicBezTo>
                  <a:cubicBezTo>
                    <a:pt x="4899" y="223913"/>
                    <a:pt x="740" y="217518"/>
                    <a:pt x="0" y="211711"/>
                  </a:cubicBezTo>
                  <a:cubicBezTo>
                    <a:pt x="4463" y="165093"/>
                    <a:pt x="-592" y="58313"/>
                    <a:pt x="0" y="10913"/>
                  </a:cubicBezTo>
                  <a:close/>
                </a:path>
                <a:path w="1089695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178387" y="20127"/>
                    <a:pt x="433382" y="25725"/>
                    <a:pt x="555526" y="0"/>
                  </a:cubicBezTo>
                  <a:cubicBezTo>
                    <a:pt x="677670" y="-25725"/>
                    <a:pt x="819466" y="887"/>
                    <a:pt x="1078782" y="0"/>
                  </a:cubicBezTo>
                  <a:cubicBezTo>
                    <a:pt x="1086139" y="-372"/>
                    <a:pt x="1090252" y="5319"/>
                    <a:pt x="1089695" y="10913"/>
                  </a:cubicBezTo>
                  <a:cubicBezTo>
                    <a:pt x="1086386" y="103987"/>
                    <a:pt x="1079894" y="132243"/>
                    <a:pt x="1089695" y="211711"/>
                  </a:cubicBezTo>
                  <a:cubicBezTo>
                    <a:pt x="1089324" y="217687"/>
                    <a:pt x="1084175" y="223006"/>
                    <a:pt x="1078782" y="222624"/>
                  </a:cubicBezTo>
                  <a:cubicBezTo>
                    <a:pt x="807680" y="217494"/>
                    <a:pt x="766004" y="244060"/>
                    <a:pt x="523490" y="222624"/>
                  </a:cubicBezTo>
                  <a:cubicBezTo>
                    <a:pt x="280976" y="201188"/>
                    <a:pt x="191881" y="232414"/>
                    <a:pt x="10913" y="222624"/>
                  </a:cubicBezTo>
                  <a:cubicBezTo>
                    <a:pt x="4592" y="223803"/>
                    <a:pt x="-350" y="217703"/>
                    <a:pt x="0" y="211711"/>
                  </a:cubicBezTo>
                  <a:cubicBezTo>
                    <a:pt x="-1041" y="156857"/>
                    <a:pt x="1307" y="70667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2" name="Search Icon" descr="Magnifying glass">
              <a:extLst>
                <a:ext uri="{FF2B5EF4-FFF2-40B4-BE49-F238E27FC236}">
                  <a16:creationId xmlns:a16="http://schemas.microsoft.com/office/drawing/2014/main" id="{77CC85C1-B068-4E5C-AC1D-73AF5B157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860456" y="4983082"/>
              <a:ext cx="137160" cy="137160"/>
            </a:xfrm>
            <a:prstGeom prst="rect">
              <a:avLst/>
            </a:prstGeom>
          </p:spPr>
        </p:pic>
        <p:sp>
          <p:nvSpPr>
            <p:cNvPr id="216" name="Search Text">
              <a:extLst>
                <a:ext uri="{FF2B5EF4-FFF2-40B4-BE49-F238E27FC236}">
                  <a16:creationId xmlns:a16="http://schemas.microsoft.com/office/drawing/2014/main" id="{6CE506AB-3629-4E6F-A462-83BB81ADE060}"/>
                </a:ext>
              </a:extLst>
            </p:cNvPr>
            <p:cNvSpPr txBox="1"/>
            <p:nvPr/>
          </p:nvSpPr>
          <p:spPr>
            <a:xfrm>
              <a:off x="1954390" y="4943862"/>
              <a:ext cx="636984" cy="21544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arch…</a:t>
              </a:r>
            </a:p>
          </p:txBody>
        </p:sp>
      </p:grpSp>
      <p:grpSp>
        <p:nvGrpSpPr>
          <p:cNvPr id="217" name="Search Box 2" descr="Search Box 2">
            <a:extLst>
              <a:ext uri="{FF2B5EF4-FFF2-40B4-BE49-F238E27FC236}">
                <a16:creationId xmlns:a16="http://schemas.microsoft.com/office/drawing/2014/main" id="{11A8146C-63F7-49C8-B021-8F6D881B37ED}"/>
              </a:ext>
            </a:extLst>
          </p:cNvPr>
          <p:cNvGrpSpPr/>
          <p:nvPr/>
        </p:nvGrpSpPr>
        <p:grpSpPr>
          <a:xfrm>
            <a:off x="483396" y="2904047"/>
            <a:ext cx="1115207" cy="207749"/>
            <a:chOff x="671920" y="4943940"/>
            <a:chExt cx="1115207" cy="207749"/>
          </a:xfrm>
        </p:grpSpPr>
        <p:sp>
          <p:nvSpPr>
            <p:cNvPr id="218" name="Search Icon Background">
              <a:extLst>
                <a:ext uri="{FF2B5EF4-FFF2-40B4-BE49-F238E27FC236}">
                  <a16:creationId xmlns:a16="http://schemas.microsoft.com/office/drawing/2014/main" id="{90333120-F4D6-4890-8F32-238C1F2CDEDE}"/>
                </a:ext>
              </a:extLst>
            </p:cNvPr>
            <p:cNvSpPr/>
            <p:nvPr/>
          </p:nvSpPr>
          <p:spPr>
            <a:xfrm>
              <a:off x="671920" y="4955061"/>
              <a:ext cx="1115207" cy="193202"/>
            </a:xfrm>
            <a:custGeom>
              <a:avLst/>
              <a:gdLst>
                <a:gd name="connsiteX0" fmla="*/ 0 w 1115207"/>
                <a:gd name="connsiteY0" fmla="*/ 96601 h 193202"/>
                <a:gd name="connsiteX1" fmla="*/ 96601 w 1115207"/>
                <a:gd name="connsiteY1" fmla="*/ 0 h 193202"/>
                <a:gd name="connsiteX2" fmla="*/ 557604 w 1115207"/>
                <a:gd name="connsiteY2" fmla="*/ 0 h 193202"/>
                <a:gd name="connsiteX3" fmla="*/ 1018606 w 1115207"/>
                <a:gd name="connsiteY3" fmla="*/ 0 h 193202"/>
                <a:gd name="connsiteX4" fmla="*/ 1115207 w 1115207"/>
                <a:gd name="connsiteY4" fmla="*/ 96601 h 193202"/>
                <a:gd name="connsiteX5" fmla="*/ 1115207 w 1115207"/>
                <a:gd name="connsiteY5" fmla="*/ 96601 h 193202"/>
                <a:gd name="connsiteX6" fmla="*/ 1018606 w 1115207"/>
                <a:gd name="connsiteY6" fmla="*/ 193202 h 193202"/>
                <a:gd name="connsiteX7" fmla="*/ 539163 w 1115207"/>
                <a:gd name="connsiteY7" fmla="*/ 193202 h 193202"/>
                <a:gd name="connsiteX8" fmla="*/ 96601 w 1115207"/>
                <a:gd name="connsiteY8" fmla="*/ 193202 h 193202"/>
                <a:gd name="connsiteX9" fmla="*/ 0 w 1115207"/>
                <a:gd name="connsiteY9" fmla="*/ 96601 h 19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5207" h="193202" fill="none" extrusionOk="0">
                  <a:moveTo>
                    <a:pt x="0" y="96601"/>
                  </a:moveTo>
                  <a:cubicBezTo>
                    <a:pt x="4814" y="33617"/>
                    <a:pt x="41309" y="-3957"/>
                    <a:pt x="96601" y="0"/>
                  </a:cubicBezTo>
                  <a:cubicBezTo>
                    <a:pt x="300255" y="573"/>
                    <a:pt x="462430" y="373"/>
                    <a:pt x="557604" y="0"/>
                  </a:cubicBezTo>
                  <a:cubicBezTo>
                    <a:pt x="652778" y="-373"/>
                    <a:pt x="792078" y="6273"/>
                    <a:pt x="1018606" y="0"/>
                  </a:cubicBezTo>
                  <a:cubicBezTo>
                    <a:pt x="1070306" y="726"/>
                    <a:pt x="1113767" y="43083"/>
                    <a:pt x="1115207" y="96601"/>
                  </a:cubicBezTo>
                  <a:lnTo>
                    <a:pt x="1115207" y="96601"/>
                  </a:lnTo>
                  <a:cubicBezTo>
                    <a:pt x="1107697" y="145359"/>
                    <a:pt x="1073064" y="197212"/>
                    <a:pt x="1018606" y="193202"/>
                  </a:cubicBezTo>
                  <a:cubicBezTo>
                    <a:pt x="888872" y="195818"/>
                    <a:pt x="723024" y="197170"/>
                    <a:pt x="539163" y="193202"/>
                  </a:cubicBezTo>
                  <a:cubicBezTo>
                    <a:pt x="355302" y="189234"/>
                    <a:pt x="197573" y="177556"/>
                    <a:pt x="96601" y="193202"/>
                  </a:cubicBezTo>
                  <a:cubicBezTo>
                    <a:pt x="41577" y="193854"/>
                    <a:pt x="3319" y="159669"/>
                    <a:pt x="0" y="96601"/>
                  </a:cubicBezTo>
                  <a:close/>
                </a:path>
                <a:path w="1115207" h="193202" stroke="0" extrusionOk="0">
                  <a:moveTo>
                    <a:pt x="0" y="96601"/>
                  </a:moveTo>
                  <a:cubicBezTo>
                    <a:pt x="-948" y="48770"/>
                    <a:pt x="51369" y="-3578"/>
                    <a:pt x="96601" y="0"/>
                  </a:cubicBezTo>
                  <a:cubicBezTo>
                    <a:pt x="315437" y="12228"/>
                    <a:pt x="439897" y="19771"/>
                    <a:pt x="557604" y="0"/>
                  </a:cubicBezTo>
                  <a:cubicBezTo>
                    <a:pt x="675311" y="-19771"/>
                    <a:pt x="797158" y="-22375"/>
                    <a:pt x="1018606" y="0"/>
                  </a:cubicBezTo>
                  <a:cubicBezTo>
                    <a:pt x="1084154" y="1254"/>
                    <a:pt x="1113210" y="36395"/>
                    <a:pt x="1115207" y="96601"/>
                  </a:cubicBezTo>
                  <a:lnTo>
                    <a:pt x="1115207" y="96601"/>
                  </a:lnTo>
                  <a:cubicBezTo>
                    <a:pt x="1120132" y="150598"/>
                    <a:pt x="1078360" y="191300"/>
                    <a:pt x="1018606" y="193202"/>
                  </a:cubicBezTo>
                  <a:cubicBezTo>
                    <a:pt x="889815" y="196795"/>
                    <a:pt x="643002" y="208128"/>
                    <a:pt x="539163" y="193202"/>
                  </a:cubicBezTo>
                  <a:cubicBezTo>
                    <a:pt x="435324" y="178276"/>
                    <a:pt x="249640" y="183492"/>
                    <a:pt x="96601" y="193202"/>
                  </a:cubicBezTo>
                  <a:cubicBezTo>
                    <a:pt x="42710" y="194434"/>
                    <a:pt x="-5593" y="145101"/>
                    <a:pt x="0" y="96601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9" name="Search Icon" descr="Magnifying glass">
              <a:extLst>
                <a:ext uri="{FF2B5EF4-FFF2-40B4-BE49-F238E27FC236}">
                  <a16:creationId xmlns:a16="http://schemas.microsoft.com/office/drawing/2014/main" id="{C7BA53F3-1CC5-4060-BD03-8EF82078082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26690" y="4983082"/>
              <a:ext cx="137160" cy="137160"/>
            </a:xfrm>
            <a:prstGeom prst="rect">
              <a:avLst/>
            </a:prstGeom>
          </p:spPr>
        </p:pic>
        <p:sp>
          <p:nvSpPr>
            <p:cNvPr id="220" name="Search Text">
              <a:extLst>
                <a:ext uri="{FF2B5EF4-FFF2-40B4-BE49-F238E27FC236}">
                  <a16:creationId xmlns:a16="http://schemas.microsoft.com/office/drawing/2014/main" id="{6CFA10FF-B003-4B0F-95CF-FF974E18309D}"/>
                </a:ext>
              </a:extLst>
            </p:cNvPr>
            <p:cNvSpPr txBox="1"/>
            <p:nvPr/>
          </p:nvSpPr>
          <p:spPr>
            <a:xfrm>
              <a:off x="841698" y="4943940"/>
              <a:ext cx="636984" cy="20774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arch…</a:t>
              </a:r>
            </a:p>
          </p:txBody>
        </p:sp>
      </p:grpSp>
      <p:grpSp>
        <p:nvGrpSpPr>
          <p:cNvPr id="221" name="Search Box 1" descr="Search Box 1">
            <a:extLst>
              <a:ext uri="{FF2B5EF4-FFF2-40B4-BE49-F238E27FC236}">
                <a16:creationId xmlns:a16="http://schemas.microsoft.com/office/drawing/2014/main" id="{028EA2F0-8670-4677-8EDB-F24C5974E65F}"/>
              </a:ext>
            </a:extLst>
          </p:cNvPr>
          <p:cNvGrpSpPr/>
          <p:nvPr/>
        </p:nvGrpSpPr>
        <p:grpSpPr>
          <a:xfrm>
            <a:off x="487556" y="2476123"/>
            <a:ext cx="1090867" cy="222624"/>
            <a:chOff x="531347" y="2154502"/>
            <a:chExt cx="1090867" cy="222624"/>
          </a:xfrm>
        </p:grpSpPr>
        <p:sp>
          <p:nvSpPr>
            <p:cNvPr id="222" name="Search Box">
              <a:extLst>
                <a:ext uri="{FF2B5EF4-FFF2-40B4-BE49-F238E27FC236}">
                  <a16:creationId xmlns:a16="http://schemas.microsoft.com/office/drawing/2014/main" id="{66594899-AB5A-4A51-A039-A90D40F157D9}"/>
                </a:ext>
              </a:extLst>
            </p:cNvPr>
            <p:cNvSpPr/>
            <p:nvPr/>
          </p:nvSpPr>
          <p:spPr>
            <a:xfrm>
              <a:off x="535866" y="2154502"/>
              <a:ext cx="1082194" cy="222624"/>
            </a:xfrm>
            <a:custGeom>
              <a:avLst/>
              <a:gdLst>
                <a:gd name="connsiteX0" fmla="*/ 0 w 1082194"/>
                <a:gd name="connsiteY0" fmla="*/ 10913 h 222624"/>
                <a:gd name="connsiteX1" fmla="*/ 10913 w 1082194"/>
                <a:gd name="connsiteY1" fmla="*/ 0 h 222624"/>
                <a:gd name="connsiteX2" fmla="*/ 519890 w 1082194"/>
                <a:gd name="connsiteY2" fmla="*/ 0 h 222624"/>
                <a:gd name="connsiteX3" fmla="*/ 1071281 w 1082194"/>
                <a:gd name="connsiteY3" fmla="*/ 0 h 222624"/>
                <a:gd name="connsiteX4" fmla="*/ 1082194 w 1082194"/>
                <a:gd name="connsiteY4" fmla="*/ 10913 h 222624"/>
                <a:gd name="connsiteX5" fmla="*/ 1082194 w 1082194"/>
                <a:gd name="connsiteY5" fmla="*/ 211711 h 222624"/>
                <a:gd name="connsiteX6" fmla="*/ 1071281 w 1082194"/>
                <a:gd name="connsiteY6" fmla="*/ 222624 h 222624"/>
                <a:gd name="connsiteX7" fmla="*/ 519890 w 1082194"/>
                <a:gd name="connsiteY7" fmla="*/ 222624 h 222624"/>
                <a:gd name="connsiteX8" fmla="*/ 10913 w 1082194"/>
                <a:gd name="connsiteY8" fmla="*/ 222624 h 222624"/>
                <a:gd name="connsiteX9" fmla="*/ 0 w 1082194"/>
                <a:gd name="connsiteY9" fmla="*/ 211711 h 222624"/>
                <a:gd name="connsiteX10" fmla="*/ 0 w 1082194"/>
                <a:gd name="connsiteY10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2194" h="222624" fill="none" extrusionOk="0">
                  <a:moveTo>
                    <a:pt x="0" y="10913"/>
                  </a:moveTo>
                  <a:cubicBezTo>
                    <a:pt x="56" y="4059"/>
                    <a:pt x="4461" y="748"/>
                    <a:pt x="10913" y="0"/>
                  </a:cubicBezTo>
                  <a:cubicBezTo>
                    <a:pt x="211998" y="-22578"/>
                    <a:pt x="387095" y="6710"/>
                    <a:pt x="519890" y="0"/>
                  </a:cubicBezTo>
                  <a:cubicBezTo>
                    <a:pt x="652685" y="-6710"/>
                    <a:pt x="871035" y="16729"/>
                    <a:pt x="1071281" y="0"/>
                  </a:cubicBezTo>
                  <a:cubicBezTo>
                    <a:pt x="1077067" y="64"/>
                    <a:pt x="1082256" y="4197"/>
                    <a:pt x="1082194" y="10913"/>
                  </a:cubicBezTo>
                  <a:cubicBezTo>
                    <a:pt x="1089349" y="56299"/>
                    <a:pt x="1079671" y="114524"/>
                    <a:pt x="1082194" y="211711"/>
                  </a:cubicBezTo>
                  <a:cubicBezTo>
                    <a:pt x="1081987" y="218244"/>
                    <a:pt x="1077528" y="222994"/>
                    <a:pt x="1071281" y="222624"/>
                  </a:cubicBezTo>
                  <a:cubicBezTo>
                    <a:pt x="862296" y="211834"/>
                    <a:pt x="750151" y="225065"/>
                    <a:pt x="519890" y="222624"/>
                  </a:cubicBezTo>
                  <a:cubicBezTo>
                    <a:pt x="289629" y="220183"/>
                    <a:pt x="184788" y="231341"/>
                    <a:pt x="10913" y="222624"/>
                  </a:cubicBezTo>
                  <a:cubicBezTo>
                    <a:pt x="4899" y="223913"/>
                    <a:pt x="740" y="217518"/>
                    <a:pt x="0" y="211711"/>
                  </a:cubicBezTo>
                  <a:cubicBezTo>
                    <a:pt x="4463" y="165093"/>
                    <a:pt x="-592" y="58313"/>
                    <a:pt x="0" y="10913"/>
                  </a:cubicBezTo>
                  <a:close/>
                </a:path>
                <a:path w="1082194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180946" y="17934"/>
                    <a:pt x="346435" y="22149"/>
                    <a:pt x="551701" y="0"/>
                  </a:cubicBezTo>
                  <a:cubicBezTo>
                    <a:pt x="756967" y="-22149"/>
                    <a:pt x="882948" y="17542"/>
                    <a:pt x="1071281" y="0"/>
                  </a:cubicBezTo>
                  <a:cubicBezTo>
                    <a:pt x="1078638" y="-372"/>
                    <a:pt x="1082751" y="5319"/>
                    <a:pt x="1082194" y="10913"/>
                  </a:cubicBezTo>
                  <a:cubicBezTo>
                    <a:pt x="1078885" y="103987"/>
                    <a:pt x="1072393" y="132243"/>
                    <a:pt x="1082194" y="211711"/>
                  </a:cubicBezTo>
                  <a:cubicBezTo>
                    <a:pt x="1081823" y="217687"/>
                    <a:pt x="1076674" y="223006"/>
                    <a:pt x="1071281" y="222624"/>
                  </a:cubicBezTo>
                  <a:cubicBezTo>
                    <a:pt x="846051" y="202981"/>
                    <a:pt x="640077" y="244661"/>
                    <a:pt x="519890" y="222624"/>
                  </a:cubicBezTo>
                  <a:cubicBezTo>
                    <a:pt x="399703" y="200587"/>
                    <a:pt x="247959" y="231496"/>
                    <a:pt x="10913" y="222624"/>
                  </a:cubicBezTo>
                  <a:cubicBezTo>
                    <a:pt x="4592" y="223803"/>
                    <a:pt x="-350" y="217703"/>
                    <a:pt x="0" y="211711"/>
                  </a:cubicBezTo>
                  <a:cubicBezTo>
                    <a:pt x="-1041" y="156857"/>
                    <a:pt x="1307" y="70667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Search Icon Background">
              <a:extLst>
                <a:ext uri="{FF2B5EF4-FFF2-40B4-BE49-F238E27FC236}">
                  <a16:creationId xmlns:a16="http://schemas.microsoft.com/office/drawing/2014/main" id="{726E9320-14B1-49B0-960E-ECE610DB4301}"/>
                </a:ext>
              </a:extLst>
            </p:cNvPr>
            <p:cNvSpPr/>
            <p:nvPr/>
          </p:nvSpPr>
          <p:spPr>
            <a:xfrm>
              <a:off x="1378223" y="2154502"/>
              <a:ext cx="243991" cy="222624"/>
            </a:xfrm>
            <a:custGeom>
              <a:avLst/>
              <a:gdLst>
                <a:gd name="connsiteX0" fmla="*/ 0 w 243991"/>
                <a:gd name="connsiteY0" fmla="*/ 10913 h 222624"/>
                <a:gd name="connsiteX1" fmla="*/ 10913 w 243991"/>
                <a:gd name="connsiteY1" fmla="*/ 0 h 222624"/>
                <a:gd name="connsiteX2" fmla="*/ 233078 w 243991"/>
                <a:gd name="connsiteY2" fmla="*/ 0 h 222624"/>
                <a:gd name="connsiteX3" fmla="*/ 243991 w 243991"/>
                <a:gd name="connsiteY3" fmla="*/ 10913 h 222624"/>
                <a:gd name="connsiteX4" fmla="*/ 243991 w 243991"/>
                <a:gd name="connsiteY4" fmla="*/ 211711 h 222624"/>
                <a:gd name="connsiteX5" fmla="*/ 233078 w 243991"/>
                <a:gd name="connsiteY5" fmla="*/ 222624 h 222624"/>
                <a:gd name="connsiteX6" fmla="*/ 10913 w 243991"/>
                <a:gd name="connsiteY6" fmla="*/ 222624 h 222624"/>
                <a:gd name="connsiteX7" fmla="*/ 0 w 243991"/>
                <a:gd name="connsiteY7" fmla="*/ 211711 h 222624"/>
                <a:gd name="connsiteX8" fmla="*/ 0 w 243991"/>
                <a:gd name="connsiteY8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991" h="222624" fill="none" extrusionOk="0">
                  <a:moveTo>
                    <a:pt x="0" y="10913"/>
                  </a:moveTo>
                  <a:cubicBezTo>
                    <a:pt x="-231" y="4836"/>
                    <a:pt x="5023" y="-1318"/>
                    <a:pt x="10913" y="0"/>
                  </a:cubicBezTo>
                  <a:cubicBezTo>
                    <a:pt x="81128" y="7155"/>
                    <a:pt x="127218" y="9651"/>
                    <a:pt x="233078" y="0"/>
                  </a:cubicBezTo>
                  <a:cubicBezTo>
                    <a:pt x="239663" y="1192"/>
                    <a:pt x="244328" y="5773"/>
                    <a:pt x="243991" y="10913"/>
                  </a:cubicBezTo>
                  <a:cubicBezTo>
                    <a:pt x="244347" y="95343"/>
                    <a:pt x="243329" y="168442"/>
                    <a:pt x="243991" y="211711"/>
                  </a:cubicBezTo>
                  <a:cubicBezTo>
                    <a:pt x="243750" y="217802"/>
                    <a:pt x="239167" y="221935"/>
                    <a:pt x="233078" y="222624"/>
                  </a:cubicBezTo>
                  <a:cubicBezTo>
                    <a:pt x="177367" y="225092"/>
                    <a:pt x="91246" y="222623"/>
                    <a:pt x="10913" y="222624"/>
                  </a:cubicBezTo>
                  <a:cubicBezTo>
                    <a:pt x="4679" y="223130"/>
                    <a:pt x="220" y="218108"/>
                    <a:pt x="0" y="211711"/>
                  </a:cubicBezTo>
                  <a:cubicBezTo>
                    <a:pt x="-2888" y="113153"/>
                    <a:pt x="8833" y="79521"/>
                    <a:pt x="0" y="10913"/>
                  </a:cubicBezTo>
                  <a:close/>
                </a:path>
                <a:path w="243991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79625" y="10087"/>
                    <a:pt x="187542" y="-4732"/>
                    <a:pt x="233078" y="0"/>
                  </a:cubicBezTo>
                  <a:cubicBezTo>
                    <a:pt x="238127" y="-44"/>
                    <a:pt x="244154" y="3907"/>
                    <a:pt x="243991" y="10913"/>
                  </a:cubicBezTo>
                  <a:cubicBezTo>
                    <a:pt x="250353" y="81701"/>
                    <a:pt x="237028" y="151708"/>
                    <a:pt x="243991" y="211711"/>
                  </a:cubicBezTo>
                  <a:cubicBezTo>
                    <a:pt x="244319" y="218591"/>
                    <a:pt x="238936" y="221511"/>
                    <a:pt x="233078" y="222624"/>
                  </a:cubicBezTo>
                  <a:cubicBezTo>
                    <a:pt x="181155" y="232741"/>
                    <a:pt x="88673" y="221667"/>
                    <a:pt x="10913" y="222624"/>
                  </a:cubicBezTo>
                  <a:cubicBezTo>
                    <a:pt x="4883" y="222296"/>
                    <a:pt x="-15" y="217370"/>
                    <a:pt x="0" y="211711"/>
                  </a:cubicBezTo>
                  <a:cubicBezTo>
                    <a:pt x="-2788" y="161156"/>
                    <a:pt x="-3468" y="69927"/>
                    <a:pt x="0" y="1091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4" name="Search Icon" descr="Magnifying glass">
              <a:extLst>
                <a:ext uri="{FF2B5EF4-FFF2-40B4-BE49-F238E27FC236}">
                  <a16:creationId xmlns:a16="http://schemas.microsoft.com/office/drawing/2014/main" id="{0344BA02-404C-41F1-AAAF-5F0A97938B3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433253" y="2197234"/>
              <a:ext cx="137160" cy="137160"/>
            </a:xfrm>
            <a:prstGeom prst="rect">
              <a:avLst/>
            </a:prstGeom>
          </p:spPr>
        </p:pic>
        <p:sp>
          <p:nvSpPr>
            <p:cNvPr id="225" name="Search Text">
              <a:extLst>
                <a:ext uri="{FF2B5EF4-FFF2-40B4-BE49-F238E27FC236}">
                  <a16:creationId xmlns:a16="http://schemas.microsoft.com/office/drawing/2014/main" id="{DDD060BE-2809-4AF9-99D5-0DD76752785F}"/>
                </a:ext>
              </a:extLst>
            </p:cNvPr>
            <p:cNvSpPr txBox="1"/>
            <p:nvPr/>
          </p:nvSpPr>
          <p:spPr>
            <a:xfrm>
              <a:off x="531347" y="2159205"/>
              <a:ext cx="76867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arch…</a:t>
              </a:r>
            </a:p>
          </p:txBody>
        </p:sp>
      </p:grpSp>
      <p:grpSp>
        <p:nvGrpSpPr>
          <p:cNvPr id="226" name="Option Select" descr="Option box with a checkmark icon">
            <a:extLst>
              <a:ext uri="{FF2B5EF4-FFF2-40B4-BE49-F238E27FC236}">
                <a16:creationId xmlns:a16="http://schemas.microsoft.com/office/drawing/2014/main" id="{F953BED0-3248-49FE-A434-E85CB121B29D}"/>
              </a:ext>
            </a:extLst>
          </p:cNvPr>
          <p:cNvGrpSpPr/>
          <p:nvPr/>
        </p:nvGrpSpPr>
        <p:grpSpPr>
          <a:xfrm>
            <a:off x="488601" y="2048802"/>
            <a:ext cx="1096383" cy="222624"/>
            <a:chOff x="532392" y="1753582"/>
            <a:chExt cx="1096383" cy="222624"/>
          </a:xfrm>
        </p:grpSpPr>
        <p:sp>
          <p:nvSpPr>
            <p:cNvPr id="227" name="Option Background">
              <a:extLst>
                <a:ext uri="{FF2B5EF4-FFF2-40B4-BE49-F238E27FC236}">
                  <a16:creationId xmlns:a16="http://schemas.microsoft.com/office/drawing/2014/main" id="{78D3A843-5C52-480B-9CBB-994EC08236AC}"/>
                </a:ext>
              </a:extLst>
            </p:cNvPr>
            <p:cNvSpPr/>
            <p:nvPr/>
          </p:nvSpPr>
          <p:spPr>
            <a:xfrm>
              <a:off x="536909" y="1753582"/>
              <a:ext cx="1091866" cy="222624"/>
            </a:xfrm>
            <a:custGeom>
              <a:avLst/>
              <a:gdLst>
                <a:gd name="connsiteX0" fmla="*/ 0 w 1091866"/>
                <a:gd name="connsiteY0" fmla="*/ 13293 h 222624"/>
                <a:gd name="connsiteX1" fmla="*/ 13293 w 1091866"/>
                <a:gd name="connsiteY1" fmla="*/ 0 h 222624"/>
                <a:gd name="connsiteX2" fmla="*/ 524627 w 1091866"/>
                <a:gd name="connsiteY2" fmla="*/ 0 h 222624"/>
                <a:gd name="connsiteX3" fmla="*/ 1078573 w 1091866"/>
                <a:gd name="connsiteY3" fmla="*/ 0 h 222624"/>
                <a:gd name="connsiteX4" fmla="*/ 1091866 w 1091866"/>
                <a:gd name="connsiteY4" fmla="*/ 13293 h 222624"/>
                <a:gd name="connsiteX5" fmla="*/ 1091866 w 1091866"/>
                <a:gd name="connsiteY5" fmla="*/ 209331 h 222624"/>
                <a:gd name="connsiteX6" fmla="*/ 1078573 w 1091866"/>
                <a:gd name="connsiteY6" fmla="*/ 222624 h 222624"/>
                <a:gd name="connsiteX7" fmla="*/ 524627 w 1091866"/>
                <a:gd name="connsiteY7" fmla="*/ 222624 h 222624"/>
                <a:gd name="connsiteX8" fmla="*/ 13293 w 1091866"/>
                <a:gd name="connsiteY8" fmla="*/ 222624 h 222624"/>
                <a:gd name="connsiteX9" fmla="*/ 0 w 1091866"/>
                <a:gd name="connsiteY9" fmla="*/ 209331 h 222624"/>
                <a:gd name="connsiteX10" fmla="*/ 0 w 1091866"/>
                <a:gd name="connsiteY10" fmla="*/ 1329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1866" h="222624" fill="none" extrusionOk="0">
                  <a:moveTo>
                    <a:pt x="0" y="13293"/>
                  </a:moveTo>
                  <a:cubicBezTo>
                    <a:pt x="113" y="4298"/>
                    <a:pt x="5622" y="579"/>
                    <a:pt x="13293" y="0"/>
                  </a:cubicBezTo>
                  <a:cubicBezTo>
                    <a:pt x="165211" y="22950"/>
                    <a:pt x="343301" y="4168"/>
                    <a:pt x="524627" y="0"/>
                  </a:cubicBezTo>
                  <a:cubicBezTo>
                    <a:pt x="705953" y="-4168"/>
                    <a:pt x="865951" y="12352"/>
                    <a:pt x="1078573" y="0"/>
                  </a:cubicBezTo>
                  <a:cubicBezTo>
                    <a:pt x="1084853" y="283"/>
                    <a:pt x="1092011" y="4339"/>
                    <a:pt x="1091866" y="13293"/>
                  </a:cubicBezTo>
                  <a:cubicBezTo>
                    <a:pt x="1083717" y="105863"/>
                    <a:pt x="1090661" y="130632"/>
                    <a:pt x="1091866" y="209331"/>
                  </a:cubicBezTo>
                  <a:cubicBezTo>
                    <a:pt x="1091597" y="217332"/>
                    <a:pt x="1086378" y="223403"/>
                    <a:pt x="1078573" y="222624"/>
                  </a:cubicBezTo>
                  <a:cubicBezTo>
                    <a:pt x="941325" y="211804"/>
                    <a:pt x="653499" y="234221"/>
                    <a:pt x="524627" y="222624"/>
                  </a:cubicBezTo>
                  <a:cubicBezTo>
                    <a:pt x="395755" y="211027"/>
                    <a:pt x="262450" y="234485"/>
                    <a:pt x="13293" y="222624"/>
                  </a:cubicBezTo>
                  <a:cubicBezTo>
                    <a:pt x="5969" y="224370"/>
                    <a:pt x="607" y="216492"/>
                    <a:pt x="0" y="209331"/>
                  </a:cubicBezTo>
                  <a:cubicBezTo>
                    <a:pt x="5597" y="118145"/>
                    <a:pt x="-8491" y="68781"/>
                    <a:pt x="0" y="13293"/>
                  </a:cubicBezTo>
                  <a:close/>
                </a:path>
                <a:path w="1091866" h="222624" stroke="0" extrusionOk="0">
                  <a:moveTo>
                    <a:pt x="0" y="13293"/>
                  </a:moveTo>
                  <a:cubicBezTo>
                    <a:pt x="728" y="4574"/>
                    <a:pt x="5413" y="1039"/>
                    <a:pt x="13293" y="0"/>
                  </a:cubicBezTo>
                  <a:cubicBezTo>
                    <a:pt x="124297" y="-13501"/>
                    <a:pt x="348403" y="15322"/>
                    <a:pt x="556586" y="0"/>
                  </a:cubicBezTo>
                  <a:cubicBezTo>
                    <a:pt x="764769" y="-15322"/>
                    <a:pt x="865326" y="12309"/>
                    <a:pt x="1078573" y="0"/>
                  </a:cubicBezTo>
                  <a:cubicBezTo>
                    <a:pt x="1086115" y="-56"/>
                    <a:pt x="1092527" y="6464"/>
                    <a:pt x="1091866" y="13293"/>
                  </a:cubicBezTo>
                  <a:cubicBezTo>
                    <a:pt x="1082947" y="55070"/>
                    <a:pt x="1093538" y="141913"/>
                    <a:pt x="1091866" y="209331"/>
                  </a:cubicBezTo>
                  <a:cubicBezTo>
                    <a:pt x="1090150" y="216435"/>
                    <a:pt x="1085554" y="222842"/>
                    <a:pt x="1078573" y="222624"/>
                  </a:cubicBezTo>
                  <a:cubicBezTo>
                    <a:pt x="923926" y="214626"/>
                    <a:pt x="749918" y="243962"/>
                    <a:pt x="524627" y="222624"/>
                  </a:cubicBezTo>
                  <a:cubicBezTo>
                    <a:pt x="299336" y="201286"/>
                    <a:pt x="180899" y="227206"/>
                    <a:pt x="13293" y="222624"/>
                  </a:cubicBezTo>
                  <a:cubicBezTo>
                    <a:pt x="5887" y="222880"/>
                    <a:pt x="-800" y="216592"/>
                    <a:pt x="0" y="209331"/>
                  </a:cubicBezTo>
                  <a:cubicBezTo>
                    <a:pt x="5989" y="127499"/>
                    <a:pt x="6155" y="88791"/>
                    <a:pt x="0" y="1329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5971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2" name="Check Icon Background">
              <a:extLst>
                <a:ext uri="{FF2B5EF4-FFF2-40B4-BE49-F238E27FC236}">
                  <a16:creationId xmlns:a16="http://schemas.microsoft.com/office/drawing/2014/main" id="{699392D1-C510-4DFC-B01E-57D6D6230728}"/>
                </a:ext>
              </a:extLst>
            </p:cNvPr>
            <p:cNvSpPr/>
            <p:nvPr/>
          </p:nvSpPr>
          <p:spPr>
            <a:xfrm>
              <a:off x="1381355" y="1753582"/>
              <a:ext cx="243991" cy="222624"/>
            </a:xfrm>
            <a:custGeom>
              <a:avLst/>
              <a:gdLst>
                <a:gd name="connsiteX0" fmla="*/ 0 w 243991"/>
                <a:gd name="connsiteY0" fmla="*/ 12102 h 222624"/>
                <a:gd name="connsiteX1" fmla="*/ 12102 w 243991"/>
                <a:gd name="connsiteY1" fmla="*/ 0 h 222624"/>
                <a:gd name="connsiteX2" fmla="*/ 231889 w 243991"/>
                <a:gd name="connsiteY2" fmla="*/ 0 h 222624"/>
                <a:gd name="connsiteX3" fmla="*/ 243991 w 243991"/>
                <a:gd name="connsiteY3" fmla="*/ 12102 h 222624"/>
                <a:gd name="connsiteX4" fmla="*/ 243991 w 243991"/>
                <a:gd name="connsiteY4" fmla="*/ 210522 h 222624"/>
                <a:gd name="connsiteX5" fmla="*/ 231889 w 243991"/>
                <a:gd name="connsiteY5" fmla="*/ 222624 h 222624"/>
                <a:gd name="connsiteX6" fmla="*/ 12102 w 243991"/>
                <a:gd name="connsiteY6" fmla="*/ 222624 h 222624"/>
                <a:gd name="connsiteX7" fmla="*/ 0 w 243991"/>
                <a:gd name="connsiteY7" fmla="*/ 210522 h 222624"/>
                <a:gd name="connsiteX8" fmla="*/ 0 w 243991"/>
                <a:gd name="connsiteY8" fmla="*/ 12102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991" h="222624" fill="none" extrusionOk="0">
                  <a:moveTo>
                    <a:pt x="0" y="12102"/>
                  </a:moveTo>
                  <a:cubicBezTo>
                    <a:pt x="-1156" y="5166"/>
                    <a:pt x="5478" y="-575"/>
                    <a:pt x="12102" y="0"/>
                  </a:cubicBezTo>
                  <a:cubicBezTo>
                    <a:pt x="77013" y="9799"/>
                    <a:pt x="133360" y="9108"/>
                    <a:pt x="231889" y="0"/>
                  </a:cubicBezTo>
                  <a:cubicBezTo>
                    <a:pt x="238807" y="501"/>
                    <a:pt x="244574" y="6952"/>
                    <a:pt x="243991" y="12102"/>
                  </a:cubicBezTo>
                  <a:cubicBezTo>
                    <a:pt x="239128" y="87447"/>
                    <a:pt x="241500" y="152674"/>
                    <a:pt x="243991" y="210522"/>
                  </a:cubicBezTo>
                  <a:cubicBezTo>
                    <a:pt x="243082" y="217448"/>
                    <a:pt x="238656" y="221699"/>
                    <a:pt x="231889" y="222624"/>
                  </a:cubicBezTo>
                  <a:cubicBezTo>
                    <a:pt x="149784" y="217129"/>
                    <a:pt x="119692" y="222743"/>
                    <a:pt x="12102" y="222624"/>
                  </a:cubicBezTo>
                  <a:cubicBezTo>
                    <a:pt x="5037" y="223556"/>
                    <a:pt x="527" y="218093"/>
                    <a:pt x="0" y="210522"/>
                  </a:cubicBezTo>
                  <a:cubicBezTo>
                    <a:pt x="7457" y="157985"/>
                    <a:pt x="3229" y="54533"/>
                    <a:pt x="0" y="12102"/>
                  </a:cubicBezTo>
                  <a:close/>
                </a:path>
                <a:path w="243991" h="222624" stroke="0" extrusionOk="0">
                  <a:moveTo>
                    <a:pt x="0" y="12102"/>
                  </a:moveTo>
                  <a:cubicBezTo>
                    <a:pt x="239" y="4966"/>
                    <a:pt x="5125" y="567"/>
                    <a:pt x="12102" y="0"/>
                  </a:cubicBezTo>
                  <a:cubicBezTo>
                    <a:pt x="116782" y="5750"/>
                    <a:pt x="155803" y="-10314"/>
                    <a:pt x="231889" y="0"/>
                  </a:cubicBezTo>
                  <a:cubicBezTo>
                    <a:pt x="238013" y="-25"/>
                    <a:pt x="244213" y="4087"/>
                    <a:pt x="243991" y="12102"/>
                  </a:cubicBezTo>
                  <a:cubicBezTo>
                    <a:pt x="236715" y="97115"/>
                    <a:pt x="241736" y="169052"/>
                    <a:pt x="243991" y="210522"/>
                  </a:cubicBezTo>
                  <a:cubicBezTo>
                    <a:pt x="244108" y="217510"/>
                    <a:pt x="238342" y="221102"/>
                    <a:pt x="231889" y="222624"/>
                  </a:cubicBezTo>
                  <a:cubicBezTo>
                    <a:pt x="184343" y="224045"/>
                    <a:pt x="116988" y="217687"/>
                    <a:pt x="12102" y="222624"/>
                  </a:cubicBezTo>
                  <a:cubicBezTo>
                    <a:pt x="5413" y="222028"/>
                    <a:pt x="-45" y="216080"/>
                    <a:pt x="0" y="210522"/>
                  </a:cubicBezTo>
                  <a:cubicBezTo>
                    <a:pt x="2322" y="147288"/>
                    <a:pt x="8461" y="74763"/>
                    <a:pt x="0" y="1210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5436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33" name="Check Icon" descr="Checkmark">
              <a:extLst>
                <a:ext uri="{FF2B5EF4-FFF2-40B4-BE49-F238E27FC236}">
                  <a16:creationId xmlns:a16="http://schemas.microsoft.com/office/drawing/2014/main" id="{58B9E73A-233D-4C6D-AB1C-5DE7BFB5AB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436577" y="1796314"/>
              <a:ext cx="137160" cy="137160"/>
            </a:xfrm>
            <a:prstGeom prst="rect">
              <a:avLst/>
            </a:prstGeom>
          </p:spPr>
        </p:pic>
        <p:sp>
          <p:nvSpPr>
            <p:cNvPr id="234" name="Text Placeholder">
              <a:extLst>
                <a:ext uri="{FF2B5EF4-FFF2-40B4-BE49-F238E27FC236}">
                  <a16:creationId xmlns:a16="http://schemas.microsoft.com/office/drawing/2014/main" id="{D64C738B-8148-45C5-9123-57BB8F969EB0}"/>
                </a:ext>
              </a:extLst>
            </p:cNvPr>
            <p:cNvSpPr txBox="1"/>
            <p:nvPr/>
          </p:nvSpPr>
          <p:spPr>
            <a:xfrm>
              <a:off x="532392" y="1759482"/>
              <a:ext cx="77015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Option 2</a:t>
              </a:r>
            </a:p>
          </p:txBody>
        </p:sp>
      </p:grpSp>
      <p:grpSp>
        <p:nvGrpSpPr>
          <p:cNvPr id="238" name="Option Close" descr="Option box with a close icon">
            <a:extLst>
              <a:ext uri="{FF2B5EF4-FFF2-40B4-BE49-F238E27FC236}">
                <a16:creationId xmlns:a16="http://schemas.microsoft.com/office/drawing/2014/main" id="{D6880F97-081E-439E-95A1-926ED9CB51C7}"/>
              </a:ext>
            </a:extLst>
          </p:cNvPr>
          <p:cNvGrpSpPr/>
          <p:nvPr/>
        </p:nvGrpSpPr>
        <p:grpSpPr>
          <a:xfrm>
            <a:off x="486081" y="1630824"/>
            <a:ext cx="1094430" cy="228839"/>
            <a:chOff x="529872" y="1378095"/>
            <a:chExt cx="1094430" cy="228839"/>
          </a:xfrm>
        </p:grpSpPr>
        <p:sp>
          <p:nvSpPr>
            <p:cNvPr id="239" name="Option Background">
              <a:extLst>
                <a:ext uri="{FF2B5EF4-FFF2-40B4-BE49-F238E27FC236}">
                  <a16:creationId xmlns:a16="http://schemas.microsoft.com/office/drawing/2014/main" id="{854C9B11-C38F-4F87-BF5C-9E31B0E4FBF6}"/>
                </a:ext>
              </a:extLst>
            </p:cNvPr>
            <p:cNvSpPr/>
            <p:nvPr/>
          </p:nvSpPr>
          <p:spPr>
            <a:xfrm>
              <a:off x="536909" y="1378535"/>
              <a:ext cx="1087393" cy="222624"/>
            </a:xfrm>
            <a:custGeom>
              <a:avLst/>
              <a:gdLst>
                <a:gd name="connsiteX0" fmla="*/ 0 w 1087393"/>
                <a:gd name="connsiteY0" fmla="*/ 12104 h 222624"/>
                <a:gd name="connsiteX1" fmla="*/ 12104 w 1087393"/>
                <a:gd name="connsiteY1" fmla="*/ 0 h 222624"/>
                <a:gd name="connsiteX2" fmla="*/ 522433 w 1087393"/>
                <a:gd name="connsiteY2" fmla="*/ 0 h 222624"/>
                <a:gd name="connsiteX3" fmla="*/ 1075289 w 1087393"/>
                <a:gd name="connsiteY3" fmla="*/ 0 h 222624"/>
                <a:gd name="connsiteX4" fmla="*/ 1087393 w 1087393"/>
                <a:gd name="connsiteY4" fmla="*/ 12104 h 222624"/>
                <a:gd name="connsiteX5" fmla="*/ 1087393 w 1087393"/>
                <a:gd name="connsiteY5" fmla="*/ 210520 h 222624"/>
                <a:gd name="connsiteX6" fmla="*/ 1075289 w 1087393"/>
                <a:gd name="connsiteY6" fmla="*/ 222624 h 222624"/>
                <a:gd name="connsiteX7" fmla="*/ 522433 w 1087393"/>
                <a:gd name="connsiteY7" fmla="*/ 222624 h 222624"/>
                <a:gd name="connsiteX8" fmla="*/ 12104 w 1087393"/>
                <a:gd name="connsiteY8" fmla="*/ 222624 h 222624"/>
                <a:gd name="connsiteX9" fmla="*/ 0 w 1087393"/>
                <a:gd name="connsiteY9" fmla="*/ 210520 h 222624"/>
                <a:gd name="connsiteX10" fmla="*/ 0 w 1087393"/>
                <a:gd name="connsiteY10" fmla="*/ 12104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7393" h="222624" fill="none" extrusionOk="0">
                  <a:moveTo>
                    <a:pt x="0" y="12104"/>
                  </a:moveTo>
                  <a:cubicBezTo>
                    <a:pt x="73" y="4343"/>
                    <a:pt x="4769" y="1143"/>
                    <a:pt x="12104" y="0"/>
                  </a:cubicBezTo>
                  <a:cubicBezTo>
                    <a:pt x="216195" y="13818"/>
                    <a:pt x="391417" y="-6170"/>
                    <a:pt x="522433" y="0"/>
                  </a:cubicBezTo>
                  <a:cubicBezTo>
                    <a:pt x="653449" y="6170"/>
                    <a:pt x="881165" y="14543"/>
                    <a:pt x="1075289" y="0"/>
                  </a:cubicBezTo>
                  <a:cubicBezTo>
                    <a:pt x="1081241" y="195"/>
                    <a:pt x="1087449" y="4800"/>
                    <a:pt x="1087393" y="12104"/>
                  </a:cubicBezTo>
                  <a:cubicBezTo>
                    <a:pt x="1096347" y="82348"/>
                    <a:pt x="1081660" y="165030"/>
                    <a:pt x="1087393" y="210520"/>
                  </a:cubicBezTo>
                  <a:cubicBezTo>
                    <a:pt x="1087134" y="217838"/>
                    <a:pt x="1082823" y="224054"/>
                    <a:pt x="1075289" y="222624"/>
                  </a:cubicBezTo>
                  <a:cubicBezTo>
                    <a:pt x="922148" y="224139"/>
                    <a:pt x="790594" y="235717"/>
                    <a:pt x="522433" y="222624"/>
                  </a:cubicBezTo>
                  <a:cubicBezTo>
                    <a:pt x="254272" y="209531"/>
                    <a:pt x="241766" y="231797"/>
                    <a:pt x="12104" y="222624"/>
                  </a:cubicBezTo>
                  <a:cubicBezTo>
                    <a:pt x="5431" y="223773"/>
                    <a:pt x="306" y="217114"/>
                    <a:pt x="0" y="210520"/>
                  </a:cubicBezTo>
                  <a:cubicBezTo>
                    <a:pt x="-2321" y="169088"/>
                    <a:pt x="-4102" y="66655"/>
                    <a:pt x="0" y="12104"/>
                  </a:cubicBezTo>
                  <a:close/>
                </a:path>
                <a:path w="1087393" h="222624" stroke="0" extrusionOk="0">
                  <a:moveTo>
                    <a:pt x="0" y="12104"/>
                  </a:moveTo>
                  <a:cubicBezTo>
                    <a:pt x="729" y="4040"/>
                    <a:pt x="5178" y="465"/>
                    <a:pt x="12104" y="0"/>
                  </a:cubicBezTo>
                  <a:cubicBezTo>
                    <a:pt x="167059" y="24283"/>
                    <a:pt x="366151" y="-23910"/>
                    <a:pt x="554328" y="0"/>
                  </a:cubicBezTo>
                  <a:cubicBezTo>
                    <a:pt x="742505" y="23910"/>
                    <a:pt x="866710" y="-13824"/>
                    <a:pt x="1075289" y="0"/>
                  </a:cubicBezTo>
                  <a:cubicBezTo>
                    <a:pt x="1082749" y="-217"/>
                    <a:pt x="1087555" y="5545"/>
                    <a:pt x="1087393" y="12104"/>
                  </a:cubicBezTo>
                  <a:cubicBezTo>
                    <a:pt x="1080840" y="104507"/>
                    <a:pt x="1091959" y="134145"/>
                    <a:pt x="1087393" y="210520"/>
                  </a:cubicBezTo>
                  <a:cubicBezTo>
                    <a:pt x="1086465" y="217076"/>
                    <a:pt x="1080560" y="223475"/>
                    <a:pt x="1075289" y="222624"/>
                  </a:cubicBezTo>
                  <a:cubicBezTo>
                    <a:pt x="950720" y="223996"/>
                    <a:pt x="636273" y="209660"/>
                    <a:pt x="522433" y="222624"/>
                  </a:cubicBezTo>
                  <a:cubicBezTo>
                    <a:pt x="408593" y="235588"/>
                    <a:pt x="237710" y="207169"/>
                    <a:pt x="12104" y="222624"/>
                  </a:cubicBezTo>
                  <a:cubicBezTo>
                    <a:pt x="5246" y="223318"/>
                    <a:pt x="-797" y="217125"/>
                    <a:pt x="0" y="210520"/>
                  </a:cubicBezTo>
                  <a:cubicBezTo>
                    <a:pt x="-1681" y="158399"/>
                    <a:pt x="-2691" y="54090"/>
                    <a:pt x="0" y="12104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543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Close Icon Background">
              <a:extLst>
                <a:ext uri="{FF2B5EF4-FFF2-40B4-BE49-F238E27FC236}">
                  <a16:creationId xmlns:a16="http://schemas.microsoft.com/office/drawing/2014/main" id="{D763E07E-FC77-4EC0-A14A-2A10FD22A46B}"/>
                </a:ext>
              </a:extLst>
            </p:cNvPr>
            <p:cNvSpPr/>
            <p:nvPr/>
          </p:nvSpPr>
          <p:spPr>
            <a:xfrm>
              <a:off x="1379414" y="1378095"/>
              <a:ext cx="243991" cy="223064"/>
            </a:xfrm>
            <a:custGeom>
              <a:avLst/>
              <a:gdLst>
                <a:gd name="connsiteX0" fmla="*/ 0 w 243991"/>
                <a:gd name="connsiteY0" fmla="*/ 8352 h 223064"/>
                <a:gd name="connsiteX1" fmla="*/ 8352 w 243991"/>
                <a:gd name="connsiteY1" fmla="*/ 0 h 223064"/>
                <a:gd name="connsiteX2" fmla="*/ 235639 w 243991"/>
                <a:gd name="connsiteY2" fmla="*/ 0 h 223064"/>
                <a:gd name="connsiteX3" fmla="*/ 243991 w 243991"/>
                <a:gd name="connsiteY3" fmla="*/ 8352 h 223064"/>
                <a:gd name="connsiteX4" fmla="*/ 243991 w 243991"/>
                <a:gd name="connsiteY4" fmla="*/ 214712 h 223064"/>
                <a:gd name="connsiteX5" fmla="*/ 235639 w 243991"/>
                <a:gd name="connsiteY5" fmla="*/ 223064 h 223064"/>
                <a:gd name="connsiteX6" fmla="*/ 8352 w 243991"/>
                <a:gd name="connsiteY6" fmla="*/ 223064 h 223064"/>
                <a:gd name="connsiteX7" fmla="*/ 0 w 243991"/>
                <a:gd name="connsiteY7" fmla="*/ 214712 h 223064"/>
                <a:gd name="connsiteX8" fmla="*/ 0 w 243991"/>
                <a:gd name="connsiteY8" fmla="*/ 8352 h 223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991" h="223064" fill="none" extrusionOk="0">
                  <a:moveTo>
                    <a:pt x="0" y="8352"/>
                  </a:moveTo>
                  <a:cubicBezTo>
                    <a:pt x="-119" y="3713"/>
                    <a:pt x="3753" y="-133"/>
                    <a:pt x="8352" y="0"/>
                  </a:cubicBezTo>
                  <a:cubicBezTo>
                    <a:pt x="114209" y="7727"/>
                    <a:pt x="164552" y="5850"/>
                    <a:pt x="235639" y="0"/>
                  </a:cubicBezTo>
                  <a:cubicBezTo>
                    <a:pt x="240439" y="400"/>
                    <a:pt x="244193" y="4271"/>
                    <a:pt x="243991" y="8352"/>
                  </a:cubicBezTo>
                  <a:cubicBezTo>
                    <a:pt x="242289" y="64857"/>
                    <a:pt x="249221" y="149779"/>
                    <a:pt x="243991" y="214712"/>
                  </a:cubicBezTo>
                  <a:cubicBezTo>
                    <a:pt x="243800" y="219376"/>
                    <a:pt x="240354" y="221936"/>
                    <a:pt x="235639" y="223064"/>
                  </a:cubicBezTo>
                  <a:cubicBezTo>
                    <a:pt x="150326" y="230029"/>
                    <a:pt x="77530" y="214806"/>
                    <a:pt x="8352" y="223064"/>
                  </a:cubicBezTo>
                  <a:cubicBezTo>
                    <a:pt x="3531" y="223573"/>
                    <a:pt x="344" y="219905"/>
                    <a:pt x="0" y="214712"/>
                  </a:cubicBezTo>
                  <a:cubicBezTo>
                    <a:pt x="486" y="143646"/>
                    <a:pt x="-9444" y="109818"/>
                    <a:pt x="0" y="8352"/>
                  </a:cubicBezTo>
                  <a:close/>
                </a:path>
                <a:path w="243991" h="223064" stroke="0" extrusionOk="0">
                  <a:moveTo>
                    <a:pt x="0" y="8352"/>
                  </a:moveTo>
                  <a:cubicBezTo>
                    <a:pt x="440" y="2908"/>
                    <a:pt x="3248" y="948"/>
                    <a:pt x="8352" y="0"/>
                  </a:cubicBezTo>
                  <a:cubicBezTo>
                    <a:pt x="116721" y="-7726"/>
                    <a:pt x="174119" y="9236"/>
                    <a:pt x="235639" y="0"/>
                  </a:cubicBezTo>
                  <a:cubicBezTo>
                    <a:pt x="239751" y="-22"/>
                    <a:pt x="244041" y="3439"/>
                    <a:pt x="243991" y="8352"/>
                  </a:cubicBezTo>
                  <a:cubicBezTo>
                    <a:pt x="239462" y="100183"/>
                    <a:pt x="248483" y="140548"/>
                    <a:pt x="243991" y="214712"/>
                  </a:cubicBezTo>
                  <a:cubicBezTo>
                    <a:pt x="244248" y="219993"/>
                    <a:pt x="240135" y="222293"/>
                    <a:pt x="235639" y="223064"/>
                  </a:cubicBezTo>
                  <a:cubicBezTo>
                    <a:pt x="184265" y="215309"/>
                    <a:pt x="111937" y="225662"/>
                    <a:pt x="8352" y="223064"/>
                  </a:cubicBezTo>
                  <a:cubicBezTo>
                    <a:pt x="3736" y="222778"/>
                    <a:pt x="-6" y="219170"/>
                    <a:pt x="0" y="214712"/>
                  </a:cubicBezTo>
                  <a:cubicBezTo>
                    <a:pt x="3847" y="135141"/>
                    <a:pt x="-5346" y="68363"/>
                    <a:pt x="0" y="835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3744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3" name="Close Icon">
              <a:extLst>
                <a:ext uri="{FF2B5EF4-FFF2-40B4-BE49-F238E27FC236}">
                  <a16:creationId xmlns:a16="http://schemas.microsoft.com/office/drawing/2014/main" id="{15324054-DCD4-4DBA-9133-C7933363B986}"/>
                </a:ext>
              </a:extLst>
            </p:cNvPr>
            <p:cNvSpPr/>
            <p:nvPr/>
          </p:nvSpPr>
          <p:spPr>
            <a:xfrm rot="16200000">
              <a:off x="1433253" y="1417581"/>
              <a:ext cx="140484" cy="140484"/>
            </a:xfrm>
            <a:prstGeom prst="mathMultiply">
              <a:avLst>
                <a:gd name="adj1" fmla="val 13291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4" name="Text Placeholder">
              <a:extLst>
                <a:ext uri="{FF2B5EF4-FFF2-40B4-BE49-F238E27FC236}">
                  <a16:creationId xmlns:a16="http://schemas.microsoft.com/office/drawing/2014/main" id="{2C3CC92F-0EF5-4283-8790-62B335DF5F5A}"/>
                </a:ext>
              </a:extLst>
            </p:cNvPr>
            <p:cNvSpPr txBox="1"/>
            <p:nvPr/>
          </p:nvSpPr>
          <p:spPr>
            <a:xfrm>
              <a:off x="529872" y="1391490"/>
              <a:ext cx="7701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Option 1</a:t>
              </a:r>
            </a:p>
          </p:txBody>
        </p:sp>
      </p:grpSp>
      <p:sp>
        <p:nvSpPr>
          <p:cNvPr id="245" name="Input Title">
            <a:extLst>
              <a:ext uri="{FF2B5EF4-FFF2-40B4-BE49-F238E27FC236}">
                <a16:creationId xmlns:a16="http://schemas.microsoft.com/office/drawing/2014/main" id="{E8FFEBE0-2994-4B66-9F14-BAD76131C7A5}"/>
              </a:ext>
            </a:extLst>
          </p:cNvPr>
          <p:cNvSpPr txBox="1"/>
          <p:nvPr/>
        </p:nvSpPr>
        <p:spPr>
          <a:xfrm>
            <a:off x="397493" y="1142021"/>
            <a:ext cx="749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</a:rPr>
              <a:t>Input</a:t>
            </a:r>
          </a:p>
        </p:txBody>
      </p:sp>
      <p:pic>
        <p:nvPicPr>
          <p:cNvPr id="246" name="Search Icon" descr="Magnifying glass">
            <a:extLst>
              <a:ext uri="{FF2B5EF4-FFF2-40B4-BE49-F238E27FC236}">
                <a16:creationId xmlns:a16="http://schemas.microsoft.com/office/drawing/2014/main" id="{893123FF-6F52-4015-88EF-C219DCDFB98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33750" y="6238931"/>
            <a:ext cx="271471" cy="271472"/>
          </a:xfrm>
          <a:prstGeom prst="rect">
            <a:avLst/>
          </a:prstGeom>
        </p:spPr>
      </p:pic>
      <p:pic>
        <p:nvPicPr>
          <p:cNvPr id="247" name="Wifi Signal Icon 2" descr="Wi Fi">
            <a:extLst>
              <a:ext uri="{FF2B5EF4-FFF2-40B4-BE49-F238E27FC236}">
                <a16:creationId xmlns:a16="http://schemas.microsoft.com/office/drawing/2014/main" id="{A8B68B33-72A0-470A-AB97-826C4791DC6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691285" y="6238931"/>
            <a:ext cx="271471" cy="271472"/>
          </a:xfrm>
          <a:prstGeom prst="rect">
            <a:avLst/>
          </a:prstGeom>
        </p:spPr>
      </p:pic>
      <p:pic>
        <p:nvPicPr>
          <p:cNvPr id="248" name="Wifi Signal Icon" descr="Signal">
            <a:extLst>
              <a:ext uri="{FF2B5EF4-FFF2-40B4-BE49-F238E27FC236}">
                <a16:creationId xmlns:a16="http://schemas.microsoft.com/office/drawing/2014/main" id="{2EFB0D17-0BF0-4FA1-B653-6B7ED32C076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364745" y="6244717"/>
            <a:ext cx="271471" cy="271472"/>
          </a:xfrm>
          <a:prstGeom prst="rect">
            <a:avLst/>
          </a:prstGeom>
        </p:spPr>
      </p:pic>
      <p:pic>
        <p:nvPicPr>
          <p:cNvPr id="249" name="Mute Icon" descr="Mute speaker">
            <a:extLst>
              <a:ext uri="{FF2B5EF4-FFF2-40B4-BE49-F238E27FC236}">
                <a16:creationId xmlns:a16="http://schemas.microsoft.com/office/drawing/2014/main" id="{C42389DC-D4DA-4C4F-B1A5-196B74A08E7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27800" y="6263324"/>
            <a:ext cx="271471" cy="271472"/>
          </a:xfrm>
          <a:prstGeom prst="rect">
            <a:avLst/>
          </a:prstGeom>
        </p:spPr>
      </p:pic>
      <p:pic>
        <p:nvPicPr>
          <p:cNvPr id="250" name="Sound Icon" descr="Volume">
            <a:extLst>
              <a:ext uri="{FF2B5EF4-FFF2-40B4-BE49-F238E27FC236}">
                <a16:creationId xmlns:a16="http://schemas.microsoft.com/office/drawing/2014/main" id="{936873D8-5899-4537-A62C-945AB0C12F6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675772" y="6256109"/>
            <a:ext cx="271471" cy="271472"/>
          </a:xfrm>
          <a:prstGeom prst="rect">
            <a:avLst/>
          </a:prstGeom>
        </p:spPr>
      </p:pic>
      <p:pic>
        <p:nvPicPr>
          <p:cNvPr id="251" name="Minimize Icon" descr="Minimize">
            <a:extLst>
              <a:ext uri="{FF2B5EF4-FFF2-40B4-BE49-F238E27FC236}">
                <a16:creationId xmlns:a16="http://schemas.microsoft.com/office/drawing/2014/main" id="{1C3E1D30-C7A3-4BBD-A40B-DE9D297F56D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309361" y="6279589"/>
            <a:ext cx="271471" cy="271472"/>
          </a:xfrm>
          <a:prstGeom prst="rect">
            <a:avLst/>
          </a:prstGeom>
        </p:spPr>
      </p:pic>
      <p:pic>
        <p:nvPicPr>
          <p:cNvPr id="256" name="Expand Icon" descr="Maximize">
            <a:extLst>
              <a:ext uri="{FF2B5EF4-FFF2-40B4-BE49-F238E27FC236}">
                <a16:creationId xmlns:a16="http://schemas.microsoft.com/office/drawing/2014/main" id="{E5C98679-A055-4CAD-8E9E-54E6E2DFA0D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968223" y="6283665"/>
            <a:ext cx="271471" cy="271472"/>
          </a:xfrm>
          <a:prstGeom prst="rect">
            <a:avLst/>
          </a:prstGeom>
        </p:spPr>
      </p:pic>
      <p:pic>
        <p:nvPicPr>
          <p:cNvPr id="257" name="Arrow Icon" descr="Cursor">
            <a:extLst>
              <a:ext uri="{FF2B5EF4-FFF2-40B4-BE49-F238E27FC236}">
                <a16:creationId xmlns:a16="http://schemas.microsoft.com/office/drawing/2014/main" id="{7A94A8A2-D481-44DE-9373-F6253F8F4F2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599633" y="6289075"/>
            <a:ext cx="271471" cy="271472"/>
          </a:xfrm>
          <a:prstGeom prst="rect">
            <a:avLst/>
          </a:prstGeom>
        </p:spPr>
      </p:pic>
      <p:pic>
        <p:nvPicPr>
          <p:cNvPr id="258" name="Zoom Out Icon" descr="Zoom out">
            <a:extLst>
              <a:ext uri="{FF2B5EF4-FFF2-40B4-BE49-F238E27FC236}">
                <a16:creationId xmlns:a16="http://schemas.microsoft.com/office/drawing/2014/main" id="{4CD8C851-E752-4805-9785-06DA07EC236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258670" y="6293179"/>
            <a:ext cx="271471" cy="271472"/>
          </a:xfrm>
          <a:prstGeom prst="rect">
            <a:avLst/>
          </a:prstGeom>
        </p:spPr>
      </p:pic>
      <p:pic>
        <p:nvPicPr>
          <p:cNvPr id="261" name="Zoom In Icon" descr="Zoom in">
            <a:extLst>
              <a:ext uri="{FF2B5EF4-FFF2-40B4-BE49-F238E27FC236}">
                <a16:creationId xmlns:a16="http://schemas.microsoft.com/office/drawing/2014/main" id="{E330B9FE-1D75-4BCF-8A56-921DECAB45A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897494" y="6287080"/>
            <a:ext cx="271471" cy="271472"/>
          </a:xfrm>
          <a:prstGeom prst="rect">
            <a:avLst/>
          </a:prstGeom>
        </p:spPr>
      </p:pic>
      <p:pic>
        <p:nvPicPr>
          <p:cNvPr id="262" name="Battery Icon" descr="Full battery">
            <a:extLst>
              <a:ext uri="{FF2B5EF4-FFF2-40B4-BE49-F238E27FC236}">
                <a16:creationId xmlns:a16="http://schemas.microsoft.com/office/drawing/2014/main" id="{5B53E9B4-504A-414B-9199-EF25391254F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532567" y="6293179"/>
            <a:ext cx="271471" cy="271472"/>
          </a:xfrm>
          <a:prstGeom prst="rect">
            <a:avLst/>
          </a:prstGeom>
        </p:spPr>
      </p:pic>
      <p:pic>
        <p:nvPicPr>
          <p:cNvPr id="263" name="Photo Icon" descr="Camera">
            <a:extLst>
              <a:ext uri="{FF2B5EF4-FFF2-40B4-BE49-F238E27FC236}">
                <a16:creationId xmlns:a16="http://schemas.microsoft.com/office/drawing/2014/main" id="{1E84E24B-E3A1-4896-B60A-3C6BB5FE1C9A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095088" y="5872497"/>
            <a:ext cx="271471" cy="271472"/>
          </a:xfrm>
          <a:prstGeom prst="rect">
            <a:avLst/>
          </a:prstGeom>
        </p:spPr>
      </p:pic>
      <p:grpSp>
        <p:nvGrpSpPr>
          <p:cNvPr id="264" name="Arrows" descr="Undo and redo arrow icons">
            <a:extLst>
              <a:ext uri="{FF2B5EF4-FFF2-40B4-BE49-F238E27FC236}">
                <a16:creationId xmlns:a16="http://schemas.microsoft.com/office/drawing/2014/main" id="{EE06F557-F33E-4A68-B697-862E9528DFF0}"/>
              </a:ext>
            </a:extLst>
          </p:cNvPr>
          <p:cNvGrpSpPr/>
          <p:nvPr/>
        </p:nvGrpSpPr>
        <p:grpSpPr>
          <a:xfrm>
            <a:off x="3636572" y="6025988"/>
            <a:ext cx="334303" cy="0"/>
            <a:chOff x="-1657440" y="13147620"/>
            <a:chExt cx="489609" cy="0"/>
          </a:xfrm>
          <a:solidFill>
            <a:srgbClr val="404040"/>
          </a:solidFill>
        </p:grpSpPr>
        <p:cxnSp>
          <p:nvCxnSpPr>
            <p:cNvPr id="265" name="Left Arrow">
              <a:extLst>
                <a:ext uri="{FF2B5EF4-FFF2-40B4-BE49-F238E27FC236}">
                  <a16:creationId xmlns:a16="http://schemas.microsoft.com/office/drawing/2014/main" id="{DB428405-8AAB-404A-8EE9-17B3B37AD0E6}"/>
                </a:ext>
              </a:extLst>
            </p:cNvPr>
            <p:cNvCxnSpPr>
              <a:cxnSpLocks/>
            </p:cNvCxnSpPr>
            <p:nvPr/>
          </p:nvCxnSpPr>
          <p:spPr>
            <a:xfrm>
              <a:off x="-1657440" y="13147620"/>
              <a:ext cx="182880" cy="0"/>
            </a:xfrm>
            <a:prstGeom prst="straightConnector1">
              <a:avLst/>
            </a:prstGeom>
            <a:grpFill/>
            <a:ln w="22225">
              <a:solidFill>
                <a:srgbClr val="404040"/>
              </a:solidFill>
              <a:headEnd type="arrow" w="med" len="sm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Right Arrow">
              <a:extLst>
                <a:ext uri="{FF2B5EF4-FFF2-40B4-BE49-F238E27FC236}">
                  <a16:creationId xmlns:a16="http://schemas.microsoft.com/office/drawing/2014/main" id="{EB5DF298-F4AD-4DC0-8755-74A82ECE00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350711" y="13147620"/>
              <a:ext cx="182880" cy="0"/>
            </a:xfrm>
            <a:prstGeom prst="straightConnector1">
              <a:avLst/>
            </a:prstGeom>
            <a:grpFill/>
            <a:ln w="22225">
              <a:solidFill>
                <a:srgbClr val="404040"/>
              </a:solidFill>
              <a:headEnd type="arrow" w="med" len="sm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7" name="Download Icon" descr="Download icons">
            <a:extLst>
              <a:ext uri="{FF2B5EF4-FFF2-40B4-BE49-F238E27FC236}">
                <a16:creationId xmlns:a16="http://schemas.microsoft.com/office/drawing/2014/main" id="{44141FF1-C27B-4733-822D-4A2B0F8756FD}"/>
              </a:ext>
            </a:extLst>
          </p:cNvPr>
          <p:cNvGrpSpPr/>
          <p:nvPr/>
        </p:nvGrpSpPr>
        <p:grpSpPr>
          <a:xfrm>
            <a:off x="3364861" y="5935577"/>
            <a:ext cx="136542" cy="154704"/>
            <a:chOff x="9736328" y="-449971"/>
            <a:chExt cx="365760" cy="414411"/>
          </a:xfrm>
          <a:solidFill>
            <a:srgbClr val="404040"/>
          </a:solidFill>
        </p:grpSpPr>
        <p:cxnSp>
          <p:nvCxnSpPr>
            <p:cNvPr id="268" name="Arrow">
              <a:extLst>
                <a:ext uri="{FF2B5EF4-FFF2-40B4-BE49-F238E27FC236}">
                  <a16:creationId xmlns:a16="http://schemas.microsoft.com/office/drawing/2014/main" id="{1FCAE14F-6B7D-4A0F-9232-EC027428EABF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9746488" y="-280807"/>
              <a:ext cx="338328" cy="0"/>
            </a:xfrm>
            <a:prstGeom prst="straightConnector1">
              <a:avLst/>
            </a:prstGeom>
            <a:grpFill/>
            <a:ln w="22225">
              <a:solidFill>
                <a:srgbClr val="404040"/>
              </a:solidFill>
              <a:headEnd type="arrow" w="lg" len="sm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Line">
              <a:extLst>
                <a:ext uri="{FF2B5EF4-FFF2-40B4-BE49-F238E27FC236}">
                  <a16:creationId xmlns:a16="http://schemas.microsoft.com/office/drawing/2014/main" id="{43DD14C9-5F53-4B20-9D01-F16C65F9E091}"/>
                </a:ext>
              </a:extLst>
            </p:cNvPr>
            <p:cNvCxnSpPr/>
            <p:nvPr/>
          </p:nvCxnSpPr>
          <p:spPr>
            <a:xfrm>
              <a:off x="9736328" y="-35560"/>
              <a:ext cx="365760" cy="0"/>
            </a:xfrm>
            <a:prstGeom prst="line">
              <a:avLst/>
            </a:prstGeom>
            <a:grpFill/>
            <a:ln w="444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0" name="Close Button" descr="Close">
            <a:extLst>
              <a:ext uri="{FF2B5EF4-FFF2-40B4-BE49-F238E27FC236}">
                <a16:creationId xmlns:a16="http://schemas.microsoft.com/office/drawing/2014/main" id="{EED0D5AC-2896-45F0-969B-9714E8C4EF72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059930" y="5936158"/>
            <a:ext cx="182489" cy="182489"/>
          </a:xfrm>
          <a:prstGeom prst="rect">
            <a:avLst/>
          </a:prstGeom>
        </p:spPr>
      </p:pic>
      <p:grpSp>
        <p:nvGrpSpPr>
          <p:cNvPr id="271" name="Add Person Icon" descr="Add person icon">
            <a:extLst>
              <a:ext uri="{FF2B5EF4-FFF2-40B4-BE49-F238E27FC236}">
                <a16:creationId xmlns:a16="http://schemas.microsoft.com/office/drawing/2014/main" id="{06CCFF1E-4EEF-446E-8AA6-66DE2FD1A980}"/>
              </a:ext>
            </a:extLst>
          </p:cNvPr>
          <p:cNvGrpSpPr/>
          <p:nvPr/>
        </p:nvGrpSpPr>
        <p:grpSpPr>
          <a:xfrm>
            <a:off x="2624548" y="5900597"/>
            <a:ext cx="273113" cy="227459"/>
            <a:chOff x="9251439" y="-1407160"/>
            <a:chExt cx="919927" cy="766149"/>
          </a:xfrm>
          <a:solidFill>
            <a:srgbClr val="404040"/>
          </a:solidFill>
        </p:grpSpPr>
        <p:pic>
          <p:nvPicPr>
            <p:cNvPr id="272" name="Person Icon" descr="User">
              <a:extLst>
                <a:ext uri="{FF2B5EF4-FFF2-40B4-BE49-F238E27FC236}">
                  <a16:creationId xmlns:a16="http://schemas.microsoft.com/office/drawing/2014/main" id="{07A9AB6D-9125-48DF-8B36-BFAA394C73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rcRect b="17074"/>
            <a:stretch/>
          </p:blipFill>
          <p:spPr>
            <a:xfrm>
              <a:off x="9251439" y="-1407160"/>
              <a:ext cx="914400" cy="758269"/>
            </a:xfrm>
            <a:custGeom>
              <a:avLst/>
              <a:gdLst>
                <a:gd name="connsiteX0" fmla="*/ 0 w 914400"/>
                <a:gd name="connsiteY0" fmla="*/ 0 h 758269"/>
                <a:gd name="connsiteX1" fmla="*/ 914400 w 914400"/>
                <a:gd name="connsiteY1" fmla="*/ 0 h 758269"/>
                <a:gd name="connsiteX2" fmla="*/ 914400 w 914400"/>
                <a:gd name="connsiteY2" fmla="*/ 758269 h 758269"/>
                <a:gd name="connsiteX3" fmla="*/ 854392 w 914400"/>
                <a:gd name="connsiteY3" fmla="*/ 758269 h 758269"/>
                <a:gd name="connsiteX4" fmla="*/ 876500 w 914400"/>
                <a:gd name="connsiteY4" fmla="*/ 742484 h 758269"/>
                <a:gd name="connsiteX5" fmla="*/ 911670 w 914400"/>
                <a:gd name="connsiteY5" fmla="*/ 652566 h 758269"/>
                <a:gd name="connsiteX6" fmla="*/ 791593 w 914400"/>
                <a:gd name="connsiteY6" fmla="*/ 525403 h 758269"/>
                <a:gd name="connsiteX7" fmla="*/ 671516 w 914400"/>
                <a:gd name="connsiteY7" fmla="*/ 652566 h 758269"/>
                <a:gd name="connsiteX8" fmla="*/ 706686 w 914400"/>
                <a:gd name="connsiteY8" fmla="*/ 742484 h 758269"/>
                <a:gd name="connsiteX9" fmla="*/ 728794 w 914400"/>
                <a:gd name="connsiteY9" fmla="*/ 758269 h 758269"/>
                <a:gd name="connsiteX10" fmla="*/ 0 w 914400"/>
                <a:gd name="connsiteY10" fmla="*/ 758269 h 758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" h="758269">
                  <a:moveTo>
                    <a:pt x="0" y="0"/>
                  </a:moveTo>
                  <a:lnTo>
                    <a:pt x="914400" y="0"/>
                  </a:lnTo>
                  <a:lnTo>
                    <a:pt x="914400" y="758269"/>
                  </a:lnTo>
                  <a:lnTo>
                    <a:pt x="854392" y="758269"/>
                  </a:lnTo>
                  <a:lnTo>
                    <a:pt x="876500" y="742484"/>
                  </a:lnTo>
                  <a:cubicBezTo>
                    <a:pt x="898230" y="719472"/>
                    <a:pt x="911670" y="687681"/>
                    <a:pt x="911670" y="652566"/>
                  </a:cubicBezTo>
                  <a:cubicBezTo>
                    <a:pt x="911670" y="582336"/>
                    <a:pt x="857910" y="525403"/>
                    <a:pt x="791593" y="525403"/>
                  </a:cubicBezTo>
                  <a:cubicBezTo>
                    <a:pt x="725276" y="525403"/>
                    <a:pt x="671516" y="582336"/>
                    <a:pt x="671516" y="652566"/>
                  </a:cubicBezTo>
                  <a:cubicBezTo>
                    <a:pt x="671516" y="687681"/>
                    <a:pt x="684956" y="719472"/>
                    <a:pt x="706686" y="742484"/>
                  </a:cubicBezTo>
                  <a:lnTo>
                    <a:pt x="728794" y="758269"/>
                  </a:lnTo>
                  <a:lnTo>
                    <a:pt x="0" y="758269"/>
                  </a:lnTo>
                  <a:close/>
                </a:path>
              </a:pathLst>
            </a:custGeom>
          </p:spPr>
        </p:pic>
        <p:sp>
          <p:nvSpPr>
            <p:cNvPr id="273" name="Add Button">
              <a:extLst>
                <a:ext uri="{FF2B5EF4-FFF2-40B4-BE49-F238E27FC236}">
                  <a16:creationId xmlns:a16="http://schemas.microsoft.com/office/drawing/2014/main" id="{36D61566-32DD-4851-BF16-06D2D25F79BF}"/>
                </a:ext>
              </a:extLst>
            </p:cNvPr>
            <p:cNvSpPr/>
            <p:nvPr/>
          </p:nvSpPr>
          <p:spPr>
            <a:xfrm>
              <a:off x="9916890" y="-895487"/>
              <a:ext cx="254476" cy="254476"/>
            </a:xfrm>
            <a:prstGeom prst="plus">
              <a:avLst>
                <a:gd name="adj" fmla="val 4019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5" name="Person Icon" descr="User">
            <a:extLst>
              <a:ext uri="{FF2B5EF4-FFF2-40B4-BE49-F238E27FC236}">
                <a16:creationId xmlns:a16="http://schemas.microsoft.com/office/drawing/2014/main" id="{5C0E6E60-CEA6-4D6F-8BA1-F8A516BBA90F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296965" y="5900597"/>
            <a:ext cx="271471" cy="271472"/>
          </a:xfrm>
          <a:prstGeom prst="rect">
            <a:avLst/>
          </a:prstGeom>
        </p:spPr>
      </p:pic>
      <p:pic>
        <p:nvPicPr>
          <p:cNvPr id="276" name="Shopping Cart Icon 2" descr="Shopping basket">
            <a:extLst>
              <a:ext uri="{FF2B5EF4-FFF2-40B4-BE49-F238E27FC236}">
                <a16:creationId xmlns:a16="http://schemas.microsoft.com/office/drawing/2014/main" id="{264100CF-75F7-44DC-A7C2-2004D4438D9A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959421" y="5915416"/>
            <a:ext cx="271471" cy="271472"/>
          </a:xfrm>
          <a:prstGeom prst="rect">
            <a:avLst/>
          </a:prstGeom>
        </p:spPr>
      </p:pic>
      <p:pic>
        <p:nvPicPr>
          <p:cNvPr id="277" name="Shopping Cart Icon" descr="Shopping cart">
            <a:extLst>
              <a:ext uri="{FF2B5EF4-FFF2-40B4-BE49-F238E27FC236}">
                <a16:creationId xmlns:a16="http://schemas.microsoft.com/office/drawing/2014/main" id="{C7E03C30-E4B6-4C18-AD5D-64A893AC8A7F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600435" y="5910379"/>
            <a:ext cx="276507" cy="276507"/>
          </a:xfrm>
          <a:prstGeom prst="rect">
            <a:avLst/>
          </a:prstGeom>
        </p:spPr>
      </p:pic>
      <p:pic>
        <p:nvPicPr>
          <p:cNvPr id="278" name="Home Icon" descr="Home">
            <a:extLst>
              <a:ext uri="{FF2B5EF4-FFF2-40B4-BE49-F238E27FC236}">
                <a16:creationId xmlns:a16="http://schemas.microsoft.com/office/drawing/2014/main" id="{A29EA424-1174-430F-B263-04974016B913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252146" y="5896538"/>
            <a:ext cx="271471" cy="271472"/>
          </a:xfrm>
          <a:prstGeom prst="rect">
            <a:avLst/>
          </a:prstGeom>
        </p:spPr>
      </p:pic>
      <p:pic>
        <p:nvPicPr>
          <p:cNvPr id="279" name="Refresh Icon 2" descr="Line arrow Rotate right">
            <a:extLst>
              <a:ext uri="{FF2B5EF4-FFF2-40B4-BE49-F238E27FC236}">
                <a16:creationId xmlns:a16="http://schemas.microsoft.com/office/drawing/2014/main" id="{4887DF6F-7453-4F8D-92DA-0CC5872979FC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908068" y="5896538"/>
            <a:ext cx="271471" cy="271472"/>
          </a:xfrm>
          <a:prstGeom prst="rect">
            <a:avLst/>
          </a:prstGeom>
        </p:spPr>
      </p:pic>
      <p:pic>
        <p:nvPicPr>
          <p:cNvPr id="280" name="Refresh Icon" descr="Refresh">
            <a:extLst>
              <a:ext uri="{FF2B5EF4-FFF2-40B4-BE49-F238E27FC236}">
                <a16:creationId xmlns:a16="http://schemas.microsoft.com/office/drawing/2014/main" id="{FDF60CBF-55DA-431A-80A9-88CAC3231B40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544624" y="5915416"/>
            <a:ext cx="271471" cy="271472"/>
          </a:xfrm>
          <a:prstGeom prst="rect">
            <a:avLst/>
          </a:prstGeom>
        </p:spPr>
      </p:pic>
      <p:sp>
        <p:nvSpPr>
          <p:cNvPr id="281" name="Icons Title">
            <a:extLst>
              <a:ext uri="{FF2B5EF4-FFF2-40B4-BE49-F238E27FC236}">
                <a16:creationId xmlns:a16="http://schemas.microsoft.com/office/drawing/2014/main" id="{F970E37A-86C0-4654-80B2-DFE955322F66}"/>
              </a:ext>
            </a:extLst>
          </p:cNvPr>
          <p:cNvSpPr txBox="1"/>
          <p:nvPr/>
        </p:nvSpPr>
        <p:spPr>
          <a:xfrm>
            <a:off x="479285" y="5477532"/>
            <a:ext cx="2427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</a:rPr>
              <a:t>Icons</a:t>
            </a:r>
          </a:p>
        </p:txBody>
      </p:sp>
      <p:grpSp>
        <p:nvGrpSpPr>
          <p:cNvPr id="282" name="Centered Placeholder Lines" descr="Centered paragraph placeholder, shown as lines">
            <a:extLst>
              <a:ext uri="{FF2B5EF4-FFF2-40B4-BE49-F238E27FC236}">
                <a16:creationId xmlns:a16="http://schemas.microsoft.com/office/drawing/2014/main" id="{5A846984-7237-4E98-8F9D-F7AEFEC046A0}"/>
              </a:ext>
            </a:extLst>
          </p:cNvPr>
          <p:cNvGrpSpPr/>
          <p:nvPr/>
        </p:nvGrpSpPr>
        <p:grpSpPr>
          <a:xfrm>
            <a:off x="7505355" y="5656753"/>
            <a:ext cx="1856232" cy="622836"/>
            <a:chOff x="-5337756" y="5249196"/>
            <a:chExt cx="1856232" cy="622836"/>
          </a:xfrm>
        </p:grpSpPr>
        <p:sp>
          <p:nvSpPr>
            <p:cNvPr id="283" name="Rectangle 5">
              <a:extLst>
                <a:ext uri="{FF2B5EF4-FFF2-40B4-BE49-F238E27FC236}">
                  <a16:creationId xmlns:a16="http://schemas.microsoft.com/office/drawing/2014/main" id="{D7408C0E-B6CB-4EA1-A425-638040696F0F}"/>
                </a:ext>
              </a:extLst>
            </p:cNvPr>
            <p:cNvSpPr/>
            <p:nvPr/>
          </p:nvSpPr>
          <p:spPr>
            <a:xfrm>
              <a:off x="-5337755" y="5808024"/>
              <a:ext cx="1854115" cy="64008"/>
            </a:xfrm>
            <a:custGeom>
              <a:avLst/>
              <a:gdLst>
                <a:gd name="connsiteX0" fmla="*/ 0 w 1854115"/>
                <a:gd name="connsiteY0" fmla="*/ 0 h 64008"/>
                <a:gd name="connsiteX1" fmla="*/ 599497 w 1854115"/>
                <a:gd name="connsiteY1" fmla="*/ 0 h 64008"/>
                <a:gd name="connsiteX2" fmla="*/ 1161912 w 1854115"/>
                <a:gd name="connsiteY2" fmla="*/ 0 h 64008"/>
                <a:gd name="connsiteX3" fmla="*/ 1854115 w 1854115"/>
                <a:gd name="connsiteY3" fmla="*/ 0 h 64008"/>
                <a:gd name="connsiteX4" fmla="*/ 1854115 w 1854115"/>
                <a:gd name="connsiteY4" fmla="*/ 64008 h 64008"/>
                <a:gd name="connsiteX5" fmla="*/ 1217536 w 1854115"/>
                <a:gd name="connsiteY5" fmla="*/ 64008 h 64008"/>
                <a:gd name="connsiteX6" fmla="*/ 599497 w 1854115"/>
                <a:gd name="connsiteY6" fmla="*/ 64008 h 64008"/>
                <a:gd name="connsiteX7" fmla="*/ 0 w 1854115"/>
                <a:gd name="connsiteY7" fmla="*/ 64008 h 64008"/>
                <a:gd name="connsiteX8" fmla="*/ 0 w 1854115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115" h="64008" fill="none" extrusionOk="0">
                  <a:moveTo>
                    <a:pt x="0" y="0"/>
                  </a:moveTo>
                  <a:cubicBezTo>
                    <a:pt x="200035" y="-2029"/>
                    <a:pt x="368190" y="-5356"/>
                    <a:pt x="599497" y="0"/>
                  </a:cubicBezTo>
                  <a:cubicBezTo>
                    <a:pt x="830804" y="5356"/>
                    <a:pt x="996185" y="-24499"/>
                    <a:pt x="1161912" y="0"/>
                  </a:cubicBezTo>
                  <a:cubicBezTo>
                    <a:pt x="1327639" y="24499"/>
                    <a:pt x="1702646" y="-20984"/>
                    <a:pt x="1854115" y="0"/>
                  </a:cubicBezTo>
                  <a:cubicBezTo>
                    <a:pt x="1851062" y="30602"/>
                    <a:pt x="1857304" y="41776"/>
                    <a:pt x="1854115" y="64008"/>
                  </a:cubicBezTo>
                  <a:cubicBezTo>
                    <a:pt x="1582743" y="36019"/>
                    <a:pt x="1432085" y="83208"/>
                    <a:pt x="1217536" y="64008"/>
                  </a:cubicBezTo>
                  <a:cubicBezTo>
                    <a:pt x="1002987" y="44808"/>
                    <a:pt x="826701" y="63232"/>
                    <a:pt x="599497" y="64008"/>
                  </a:cubicBezTo>
                  <a:cubicBezTo>
                    <a:pt x="372293" y="64784"/>
                    <a:pt x="238472" y="85514"/>
                    <a:pt x="0" y="64008"/>
                  </a:cubicBezTo>
                  <a:cubicBezTo>
                    <a:pt x="138" y="49379"/>
                    <a:pt x="-87" y="23460"/>
                    <a:pt x="0" y="0"/>
                  </a:cubicBezTo>
                  <a:close/>
                </a:path>
                <a:path w="1854115" h="64008" stroke="0" extrusionOk="0">
                  <a:moveTo>
                    <a:pt x="0" y="0"/>
                  </a:moveTo>
                  <a:cubicBezTo>
                    <a:pt x="204624" y="-10387"/>
                    <a:pt x="481832" y="30131"/>
                    <a:pt x="636579" y="0"/>
                  </a:cubicBezTo>
                  <a:cubicBezTo>
                    <a:pt x="791326" y="-30131"/>
                    <a:pt x="1062659" y="10536"/>
                    <a:pt x="1236077" y="0"/>
                  </a:cubicBezTo>
                  <a:cubicBezTo>
                    <a:pt x="1409495" y="-10536"/>
                    <a:pt x="1562506" y="11132"/>
                    <a:pt x="1854115" y="0"/>
                  </a:cubicBezTo>
                  <a:cubicBezTo>
                    <a:pt x="1852089" y="31063"/>
                    <a:pt x="1853369" y="46416"/>
                    <a:pt x="1854115" y="64008"/>
                  </a:cubicBezTo>
                  <a:cubicBezTo>
                    <a:pt x="1698902" y="41615"/>
                    <a:pt x="1463858" y="59166"/>
                    <a:pt x="1254618" y="64008"/>
                  </a:cubicBezTo>
                  <a:cubicBezTo>
                    <a:pt x="1045378" y="68850"/>
                    <a:pt x="851273" y="61260"/>
                    <a:pt x="673662" y="64008"/>
                  </a:cubicBezTo>
                  <a:cubicBezTo>
                    <a:pt x="496051" y="66756"/>
                    <a:pt x="295234" y="66981"/>
                    <a:pt x="0" y="64008"/>
                  </a:cubicBezTo>
                  <a:cubicBezTo>
                    <a:pt x="-1768" y="32522"/>
                    <a:pt x="2098" y="17797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4" name="Rectangle 4">
              <a:extLst>
                <a:ext uri="{FF2B5EF4-FFF2-40B4-BE49-F238E27FC236}">
                  <a16:creationId xmlns:a16="http://schemas.microsoft.com/office/drawing/2014/main" id="{FAB548E2-ABFE-4945-A33C-B724B33080DE}"/>
                </a:ext>
              </a:extLst>
            </p:cNvPr>
            <p:cNvSpPr/>
            <p:nvPr/>
          </p:nvSpPr>
          <p:spPr>
            <a:xfrm>
              <a:off x="-5337756" y="5668317"/>
              <a:ext cx="1854115" cy="64008"/>
            </a:xfrm>
            <a:custGeom>
              <a:avLst/>
              <a:gdLst>
                <a:gd name="connsiteX0" fmla="*/ 0 w 1854115"/>
                <a:gd name="connsiteY0" fmla="*/ 0 h 64008"/>
                <a:gd name="connsiteX1" fmla="*/ 580956 w 1854115"/>
                <a:gd name="connsiteY1" fmla="*/ 0 h 64008"/>
                <a:gd name="connsiteX2" fmla="*/ 1217536 w 1854115"/>
                <a:gd name="connsiteY2" fmla="*/ 0 h 64008"/>
                <a:gd name="connsiteX3" fmla="*/ 1854115 w 1854115"/>
                <a:gd name="connsiteY3" fmla="*/ 0 h 64008"/>
                <a:gd name="connsiteX4" fmla="*/ 1854115 w 1854115"/>
                <a:gd name="connsiteY4" fmla="*/ 64008 h 64008"/>
                <a:gd name="connsiteX5" fmla="*/ 1273159 w 1854115"/>
                <a:gd name="connsiteY5" fmla="*/ 64008 h 64008"/>
                <a:gd name="connsiteX6" fmla="*/ 655121 w 1854115"/>
                <a:gd name="connsiteY6" fmla="*/ 64008 h 64008"/>
                <a:gd name="connsiteX7" fmla="*/ 0 w 1854115"/>
                <a:gd name="connsiteY7" fmla="*/ 64008 h 64008"/>
                <a:gd name="connsiteX8" fmla="*/ 0 w 1854115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115" h="64008" fill="none" extrusionOk="0">
                  <a:moveTo>
                    <a:pt x="0" y="0"/>
                  </a:moveTo>
                  <a:cubicBezTo>
                    <a:pt x="173830" y="19070"/>
                    <a:pt x="355335" y="-16253"/>
                    <a:pt x="580956" y="0"/>
                  </a:cubicBezTo>
                  <a:cubicBezTo>
                    <a:pt x="806577" y="16253"/>
                    <a:pt x="976446" y="-15059"/>
                    <a:pt x="1217536" y="0"/>
                  </a:cubicBezTo>
                  <a:cubicBezTo>
                    <a:pt x="1458626" y="15059"/>
                    <a:pt x="1638197" y="8200"/>
                    <a:pt x="1854115" y="0"/>
                  </a:cubicBezTo>
                  <a:cubicBezTo>
                    <a:pt x="1854789" y="13239"/>
                    <a:pt x="1851841" y="45150"/>
                    <a:pt x="1854115" y="64008"/>
                  </a:cubicBezTo>
                  <a:cubicBezTo>
                    <a:pt x="1585968" y="82561"/>
                    <a:pt x="1413365" y="41866"/>
                    <a:pt x="1273159" y="64008"/>
                  </a:cubicBezTo>
                  <a:cubicBezTo>
                    <a:pt x="1132953" y="86150"/>
                    <a:pt x="807631" y="66532"/>
                    <a:pt x="655121" y="64008"/>
                  </a:cubicBezTo>
                  <a:cubicBezTo>
                    <a:pt x="502611" y="61484"/>
                    <a:pt x="152575" y="39587"/>
                    <a:pt x="0" y="64008"/>
                  </a:cubicBezTo>
                  <a:cubicBezTo>
                    <a:pt x="1835" y="34295"/>
                    <a:pt x="920" y="24304"/>
                    <a:pt x="0" y="0"/>
                  </a:cubicBezTo>
                  <a:close/>
                </a:path>
                <a:path w="1854115" h="64008" stroke="0" extrusionOk="0">
                  <a:moveTo>
                    <a:pt x="0" y="0"/>
                  </a:moveTo>
                  <a:cubicBezTo>
                    <a:pt x="171818" y="8655"/>
                    <a:pt x="328406" y="-17651"/>
                    <a:pt x="580956" y="0"/>
                  </a:cubicBezTo>
                  <a:cubicBezTo>
                    <a:pt x="833506" y="17651"/>
                    <a:pt x="928381" y="-10795"/>
                    <a:pt x="1143371" y="0"/>
                  </a:cubicBezTo>
                  <a:cubicBezTo>
                    <a:pt x="1358361" y="10795"/>
                    <a:pt x="1533060" y="-14323"/>
                    <a:pt x="1854115" y="0"/>
                  </a:cubicBezTo>
                  <a:cubicBezTo>
                    <a:pt x="1854523" y="21212"/>
                    <a:pt x="1856060" y="36781"/>
                    <a:pt x="1854115" y="64008"/>
                  </a:cubicBezTo>
                  <a:cubicBezTo>
                    <a:pt x="1562525" y="65627"/>
                    <a:pt x="1497999" y="32413"/>
                    <a:pt x="1217536" y="64008"/>
                  </a:cubicBezTo>
                  <a:cubicBezTo>
                    <a:pt x="937073" y="95603"/>
                    <a:pt x="907823" y="85011"/>
                    <a:pt x="655121" y="64008"/>
                  </a:cubicBezTo>
                  <a:cubicBezTo>
                    <a:pt x="402419" y="43005"/>
                    <a:pt x="188958" y="44973"/>
                    <a:pt x="0" y="64008"/>
                  </a:cubicBezTo>
                  <a:cubicBezTo>
                    <a:pt x="608" y="42010"/>
                    <a:pt x="614" y="26928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5" name="Rectangle 3">
              <a:extLst>
                <a:ext uri="{FF2B5EF4-FFF2-40B4-BE49-F238E27FC236}">
                  <a16:creationId xmlns:a16="http://schemas.microsoft.com/office/drawing/2014/main" id="{DF42434C-E304-4105-A356-B3E231768E03}"/>
                </a:ext>
              </a:extLst>
            </p:cNvPr>
            <p:cNvSpPr/>
            <p:nvPr/>
          </p:nvSpPr>
          <p:spPr>
            <a:xfrm>
              <a:off x="-5337756" y="5528610"/>
              <a:ext cx="1854115" cy="64008"/>
            </a:xfrm>
            <a:custGeom>
              <a:avLst/>
              <a:gdLst>
                <a:gd name="connsiteX0" fmla="*/ 0 w 1854115"/>
                <a:gd name="connsiteY0" fmla="*/ 0 h 64008"/>
                <a:gd name="connsiteX1" fmla="*/ 618038 w 1854115"/>
                <a:gd name="connsiteY1" fmla="*/ 0 h 64008"/>
                <a:gd name="connsiteX2" fmla="*/ 1236077 w 1854115"/>
                <a:gd name="connsiteY2" fmla="*/ 0 h 64008"/>
                <a:gd name="connsiteX3" fmla="*/ 1854115 w 1854115"/>
                <a:gd name="connsiteY3" fmla="*/ 0 h 64008"/>
                <a:gd name="connsiteX4" fmla="*/ 1854115 w 1854115"/>
                <a:gd name="connsiteY4" fmla="*/ 64008 h 64008"/>
                <a:gd name="connsiteX5" fmla="*/ 1291700 w 1854115"/>
                <a:gd name="connsiteY5" fmla="*/ 64008 h 64008"/>
                <a:gd name="connsiteX6" fmla="*/ 710744 w 1854115"/>
                <a:gd name="connsiteY6" fmla="*/ 64008 h 64008"/>
                <a:gd name="connsiteX7" fmla="*/ 0 w 1854115"/>
                <a:gd name="connsiteY7" fmla="*/ 64008 h 64008"/>
                <a:gd name="connsiteX8" fmla="*/ 0 w 1854115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115" h="64008" fill="none" extrusionOk="0">
                  <a:moveTo>
                    <a:pt x="0" y="0"/>
                  </a:moveTo>
                  <a:cubicBezTo>
                    <a:pt x="280415" y="2732"/>
                    <a:pt x="337029" y="-2902"/>
                    <a:pt x="618038" y="0"/>
                  </a:cubicBezTo>
                  <a:cubicBezTo>
                    <a:pt x="899047" y="2902"/>
                    <a:pt x="950897" y="-20488"/>
                    <a:pt x="1236077" y="0"/>
                  </a:cubicBezTo>
                  <a:cubicBezTo>
                    <a:pt x="1521257" y="20488"/>
                    <a:pt x="1703430" y="-19475"/>
                    <a:pt x="1854115" y="0"/>
                  </a:cubicBezTo>
                  <a:cubicBezTo>
                    <a:pt x="1852507" y="21440"/>
                    <a:pt x="1855257" y="44330"/>
                    <a:pt x="1854115" y="64008"/>
                  </a:cubicBezTo>
                  <a:cubicBezTo>
                    <a:pt x="1646473" y="59606"/>
                    <a:pt x="1465678" y="54438"/>
                    <a:pt x="1291700" y="64008"/>
                  </a:cubicBezTo>
                  <a:cubicBezTo>
                    <a:pt x="1117722" y="73578"/>
                    <a:pt x="969854" y="69489"/>
                    <a:pt x="710744" y="64008"/>
                  </a:cubicBezTo>
                  <a:cubicBezTo>
                    <a:pt x="451634" y="58527"/>
                    <a:pt x="154698" y="63257"/>
                    <a:pt x="0" y="64008"/>
                  </a:cubicBezTo>
                  <a:cubicBezTo>
                    <a:pt x="409" y="45207"/>
                    <a:pt x="1877" y="23549"/>
                    <a:pt x="0" y="0"/>
                  </a:cubicBezTo>
                  <a:close/>
                </a:path>
                <a:path w="1854115" h="64008" stroke="0" extrusionOk="0">
                  <a:moveTo>
                    <a:pt x="0" y="0"/>
                  </a:moveTo>
                  <a:cubicBezTo>
                    <a:pt x="200217" y="-6614"/>
                    <a:pt x="299163" y="-571"/>
                    <a:pt x="580956" y="0"/>
                  </a:cubicBezTo>
                  <a:cubicBezTo>
                    <a:pt x="862749" y="571"/>
                    <a:pt x="932442" y="16591"/>
                    <a:pt x="1143371" y="0"/>
                  </a:cubicBezTo>
                  <a:cubicBezTo>
                    <a:pt x="1354300" y="-16591"/>
                    <a:pt x="1630579" y="26871"/>
                    <a:pt x="1854115" y="0"/>
                  </a:cubicBezTo>
                  <a:cubicBezTo>
                    <a:pt x="1851983" y="30430"/>
                    <a:pt x="1852559" y="32343"/>
                    <a:pt x="1854115" y="64008"/>
                  </a:cubicBezTo>
                  <a:cubicBezTo>
                    <a:pt x="1561078" y="33784"/>
                    <a:pt x="1390338" y="53668"/>
                    <a:pt x="1217536" y="64008"/>
                  </a:cubicBezTo>
                  <a:cubicBezTo>
                    <a:pt x="1044734" y="74348"/>
                    <a:pt x="802544" y="35199"/>
                    <a:pt x="580956" y="64008"/>
                  </a:cubicBezTo>
                  <a:cubicBezTo>
                    <a:pt x="359368" y="92817"/>
                    <a:pt x="201096" y="70151"/>
                    <a:pt x="0" y="64008"/>
                  </a:cubicBezTo>
                  <a:cubicBezTo>
                    <a:pt x="1102" y="49953"/>
                    <a:pt x="1211" y="2169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" name="Rectangle 2">
              <a:extLst>
                <a:ext uri="{FF2B5EF4-FFF2-40B4-BE49-F238E27FC236}">
                  <a16:creationId xmlns:a16="http://schemas.microsoft.com/office/drawing/2014/main" id="{F4FC25D9-8DD6-4195-A78F-A0F30C08DE17}"/>
                </a:ext>
              </a:extLst>
            </p:cNvPr>
            <p:cNvSpPr/>
            <p:nvPr/>
          </p:nvSpPr>
          <p:spPr>
            <a:xfrm>
              <a:off x="-5337755" y="5388903"/>
              <a:ext cx="1854115" cy="64008"/>
            </a:xfrm>
            <a:custGeom>
              <a:avLst/>
              <a:gdLst>
                <a:gd name="connsiteX0" fmla="*/ 0 w 1854115"/>
                <a:gd name="connsiteY0" fmla="*/ 0 h 64008"/>
                <a:gd name="connsiteX1" fmla="*/ 636579 w 1854115"/>
                <a:gd name="connsiteY1" fmla="*/ 0 h 64008"/>
                <a:gd name="connsiteX2" fmla="*/ 1198994 w 1854115"/>
                <a:gd name="connsiteY2" fmla="*/ 0 h 64008"/>
                <a:gd name="connsiteX3" fmla="*/ 1854115 w 1854115"/>
                <a:gd name="connsiteY3" fmla="*/ 0 h 64008"/>
                <a:gd name="connsiteX4" fmla="*/ 1854115 w 1854115"/>
                <a:gd name="connsiteY4" fmla="*/ 64008 h 64008"/>
                <a:gd name="connsiteX5" fmla="*/ 1273159 w 1854115"/>
                <a:gd name="connsiteY5" fmla="*/ 64008 h 64008"/>
                <a:gd name="connsiteX6" fmla="*/ 636579 w 1854115"/>
                <a:gd name="connsiteY6" fmla="*/ 64008 h 64008"/>
                <a:gd name="connsiteX7" fmla="*/ 0 w 1854115"/>
                <a:gd name="connsiteY7" fmla="*/ 64008 h 64008"/>
                <a:gd name="connsiteX8" fmla="*/ 0 w 1854115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115" h="64008" fill="none" extrusionOk="0">
                  <a:moveTo>
                    <a:pt x="0" y="0"/>
                  </a:moveTo>
                  <a:cubicBezTo>
                    <a:pt x="128269" y="4171"/>
                    <a:pt x="386091" y="-26467"/>
                    <a:pt x="636579" y="0"/>
                  </a:cubicBezTo>
                  <a:cubicBezTo>
                    <a:pt x="887067" y="26467"/>
                    <a:pt x="944383" y="9181"/>
                    <a:pt x="1198994" y="0"/>
                  </a:cubicBezTo>
                  <a:cubicBezTo>
                    <a:pt x="1453606" y="-9181"/>
                    <a:pt x="1643704" y="28968"/>
                    <a:pt x="1854115" y="0"/>
                  </a:cubicBezTo>
                  <a:cubicBezTo>
                    <a:pt x="1856500" y="21195"/>
                    <a:pt x="1852753" y="40259"/>
                    <a:pt x="1854115" y="64008"/>
                  </a:cubicBezTo>
                  <a:cubicBezTo>
                    <a:pt x="1687005" y="70840"/>
                    <a:pt x="1429778" y="58448"/>
                    <a:pt x="1273159" y="64008"/>
                  </a:cubicBezTo>
                  <a:cubicBezTo>
                    <a:pt x="1116540" y="69568"/>
                    <a:pt x="777353" y="64518"/>
                    <a:pt x="636579" y="64008"/>
                  </a:cubicBezTo>
                  <a:cubicBezTo>
                    <a:pt x="495805" y="63498"/>
                    <a:pt x="225919" y="85491"/>
                    <a:pt x="0" y="64008"/>
                  </a:cubicBezTo>
                  <a:cubicBezTo>
                    <a:pt x="1392" y="38336"/>
                    <a:pt x="-2713" y="22734"/>
                    <a:pt x="0" y="0"/>
                  </a:cubicBezTo>
                  <a:close/>
                </a:path>
                <a:path w="1854115" h="64008" stroke="0" extrusionOk="0">
                  <a:moveTo>
                    <a:pt x="0" y="0"/>
                  </a:moveTo>
                  <a:cubicBezTo>
                    <a:pt x="267584" y="-7179"/>
                    <a:pt x="440734" y="20073"/>
                    <a:pt x="580956" y="0"/>
                  </a:cubicBezTo>
                  <a:cubicBezTo>
                    <a:pt x="721178" y="-20073"/>
                    <a:pt x="907462" y="9297"/>
                    <a:pt x="1161912" y="0"/>
                  </a:cubicBezTo>
                  <a:cubicBezTo>
                    <a:pt x="1416362" y="-9297"/>
                    <a:pt x="1603095" y="-5545"/>
                    <a:pt x="1854115" y="0"/>
                  </a:cubicBezTo>
                  <a:cubicBezTo>
                    <a:pt x="1856980" y="15624"/>
                    <a:pt x="1853317" y="49211"/>
                    <a:pt x="1854115" y="64008"/>
                  </a:cubicBezTo>
                  <a:cubicBezTo>
                    <a:pt x="1623342" y="55933"/>
                    <a:pt x="1501386" y="64395"/>
                    <a:pt x="1291700" y="64008"/>
                  </a:cubicBezTo>
                  <a:cubicBezTo>
                    <a:pt x="1082015" y="63621"/>
                    <a:pt x="831826" y="88419"/>
                    <a:pt x="636579" y="64008"/>
                  </a:cubicBezTo>
                  <a:cubicBezTo>
                    <a:pt x="441332" y="39597"/>
                    <a:pt x="131067" y="79853"/>
                    <a:pt x="0" y="64008"/>
                  </a:cubicBezTo>
                  <a:cubicBezTo>
                    <a:pt x="1855" y="44649"/>
                    <a:pt x="-615" y="265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7" name="Rectangle 1">
              <a:extLst>
                <a:ext uri="{FF2B5EF4-FFF2-40B4-BE49-F238E27FC236}">
                  <a16:creationId xmlns:a16="http://schemas.microsoft.com/office/drawing/2014/main" id="{A49DC062-1E52-414D-98FB-906B69126DEA}"/>
                </a:ext>
              </a:extLst>
            </p:cNvPr>
            <p:cNvSpPr/>
            <p:nvPr/>
          </p:nvSpPr>
          <p:spPr>
            <a:xfrm>
              <a:off x="-5337754" y="5249196"/>
              <a:ext cx="1856230" cy="64008"/>
            </a:xfrm>
            <a:custGeom>
              <a:avLst/>
              <a:gdLst>
                <a:gd name="connsiteX0" fmla="*/ 0 w 1856230"/>
                <a:gd name="connsiteY0" fmla="*/ 0 h 64008"/>
                <a:gd name="connsiteX1" fmla="*/ 655868 w 1856230"/>
                <a:gd name="connsiteY1" fmla="*/ 0 h 64008"/>
                <a:gd name="connsiteX2" fmla="*/ 1293174 w 1856230"/>
                <a:gd name="connsiteY2" fmla="*/ 0 h 64008"/>
                <a:gd name="connsiteX3" fmla="*/ 1856230 w 1856230"/>
                <a:gd name="connsiteY3" fmla="*/ 0 h 64008"/>
                <a:gd name="connsiteX4" fmla="*/ 1856230 w 1856230"/>
                <a:gd name="connsiteY4" fmla="*/ 64008 h 64008"/>
                <a:gd name="connsiteX5" fmla="*/ 1274611 w 1856230"/>
                <a:gd name="connsiteY5" fmla="*/ 64008 h 64008"/>
                <a:gd name="connsiteX6" fmla="*/ 655868 w 1856230"/>
                <a:gd name="connsiteY6" fmla="*/ 64008 h 64008"/>
                <a:gd name="connsiteX7" fmla="*/ 0 w 1856230"/>
                <a:gd name="connsiteY7" fmla="*/ 64008 h 64008"/>
                <a:gd name="connsiteX8" fmla="*/ 0 w 1856230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6230" h="64008" fill="none" extrusionOk="0">
                  <a:moveTo>
                    <a:pt x="0" y="0"/>
                  </a:moveTo>
                  <a:cubicBezTo>
                    <a:pt x="172422" y="11840"/>
                    <a:pt x="351077" y="-19308"/>
                    <a:pt x="655868" y="0"/>
                  </a:cubicBezTo>
                  <a:cubicBezTo>
                    <a:pt x="960659" y="19308"/>
                    <a:pt x="983067" y="-29755"/>
                    <a:pt x="1293174" y="0"/>
                  </a:cubicBezTo>
                  <a:cubicBezTo>
                    <a:pt x="1603281" y="29755"/>
                    <a:pt x="1625839" y="23023"/>
                    <a:pt x="1856230" y="0"/>
                  </a:cubicBezTo>
                  <a:cubicBezTo>
                    <a:pt x="1858085" y="24039"/>
                    <a:pt x="1853373" y="34789"/>
                    <a:pt x="1856230" y="64008"/>
                  </a:cubicBezTo>
                  <a:cubicBezTo>
                    <a:pt x="1601094" y="74419"/>
                    <a:pt x="1452410" y="64121"/>
                    <a:pt x="1274611" y="64008"/>
                  </a:cubicBezTo>
                  <a:cubicBezTo>
                    <a:pt x="1096812" y="63895"/>
                    <a:pt x="929129" y="43391"/>
                    <a:pt x="655868" y="64008"/>
                  </a:cubicBezTo>
                  <a:cubicBezTo>
                    <a:pt x="382607" y="84625"/>
                    <a:pt x="207070" y="41548"/>
                    <a:pt x="0" y="64008"/>
                  </a:cubicBezTo>
                  <a:cubicBezTo>
                    <a:pt x="-198" y="49034"/>
                    <a:pt x="2081" y="27156"/>
                    <a:pt x="0" y="0"/>
                  </a:cubicBezTo>
                  <a:close/>
                </a:path>
                <a:path w="1856230" h="64008" stroke="0" extrusionOk="0">
                  <a:moveTo>
                    <a:pt x="0" y="0"/>
                  </a:moveTo>
                  <a:cubicBezTo>
                    <a:pt x="265508" y="-6806"/>
                    <a:pt x="309066" y="-757"/>
                    <a:pt x="600181" y="0"/>
                  </a:cubicBezTo>
                  <a:cubicBezTo>
                    <a:pt x="891296" y="757"/>
                    <a:pt x="921860" y="-7731"/>
                    <a:pt x="1163237" y="0"/>
                  </a:cubicBezTo>
                  <a:cubicBezTo>
                    <a:pt x="1404614" y="7731"/>
                    <a:pt x="1673432" y="22364"/>
                    <a:pt x="1856230" y="0"/>
                  </a:cubicBezTo>
                  <a:cubicBezTo>
                    <a:pt x="1858953" y="30415"/>
                    <a:pt x="1857566" y="39495"/>
                    <a:pt x="1856230" y="64008"/>
                  </a:cubicBezTo>
                  <a:cubicBezTo>
                    <a:pt x="1593862" y="60997"/>
                    <a:pt x="1548082" y="72450"/>
                    <a:pt x="1274611" y="64008"/>
                  </a:cubicBezTo>
                  <a:cubicBezTo>
                    <a:pt x="1001140" y="55566"/>
                    <a:pt x="846513" y="41247"/>
                    <a:pt x="618743" y="64008"/>
                  </a:cubicBezTo>
                  <a:cubicBezTo>
                    <a:pt x="390973" y="86769"/>
                    <a:pt x="155920" y="60758"/>
                    <a:pt x="0" y="64008"/>
                  </a:cubicBezTo>
                  <a:cubicBezTo>
                    <a:pt x="-1100" y="40362"/>
                    <a:pt x="117" y="2191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88" name="Paragraph Placeholder Lines 2" descr="Large left aligned paragraph placeholder, shown as lines">
            <a:extLst>
              <a:ext uri="{FF2B5EF4-FFF2-40B4-BE49-F238E27FC236}">
                <a16:creationId xmlns:a16="http://schemas.microsoft.com/office/drawing/2014/main" id="{CEDD7EDA-F465-4851-8E88-C327B3C22B79}"/>
              </a:ext>
            </a:extLst>
          </p:cNvPr>
          <p:cNvGrpSpPr/>
          <p:nvPr/>
        </p:nvGrpSpPr>
        <p:grpSpPr>
          <a:xfrm>
            <a:off x="7537113" y="3728726"/>
            <a:ext cx="1844673" cy="1422717"/>
            <a:chOff x="11824847" y="3517117"/>
            <a:chExt cx="1844673" cy="1422717"/>
          </a:xfrm>
        </p:grpSpPr>
        <p:grpSp>
          <p:nvGrpSpPr>
            <p:cNvPr id="289" name="Placeholder Lines 3">
              <a:extLst>
                <a:ext uri="{FF2B5EF4-FFF2-40B4-BE49-F238E27FC236}">
                  <a16:creationId xmlns:a16="http://schemas.microsoft.com/office/drawing/2014/main" id="{4F944BB5-539D-46D6-BA5B-508588564BD5}"/>
                </a:ext>
              </a:extLst>
            </p:cNvPr>
            <p:cNvGrpSpPr/>
            <p:nvPr/>
          </p:nvGrpSpPr>
          <p:grpSpPr>
            <a:xfrm>
              <a:off x="11824847" y="3517117"/>
              <a:ext cx="1844673" cy="622836"/>
              <a:chOff x="-5305998" y="3321169"/>
              <a:chExt cx="1844673" cy="622836"/>
            </a:xfrm>
          </p:grpSpPr>
          <p:sp>
            <p:nvSpPr>
              <p:cNvPr id="296" name="Rectangle 5">
                <a:extLst>
                  <a:ext uri="{FF2B5EF4-FFF2-40B4-BE49-F238E27FC236}">
                    <a16:creationId xmlns:a16="http://schemas.microsoft.com/office/drawing/2014/main" id="{8AC70ACC-E933-461C-ACDB-07B4906448BE}"/>
                  </a:ext>
                </a:extLst>
              </p:cNvPr>
              <p:cNvSpPr/>
              <p:nvPr/>
            </p:nvSpPr>
            <p:spPr>
              <a:xfrm>
                <a:off x="-5305997" y="3879997"/>
                <a:ext cx="1844672" cy="64008"/>
              </a:xfrm>
              <a:custGeom>
                <a:avLst/>
                <a:gdLst>
                  <a:gd name="connsiteX0" fmla="*/ 0 w 1844672"/>
                  <a:gd name="connsiteY0" fmla="*/ 0 h 64008"/>
                  <a:gd name="connsiteX1" fmla="*/ 596444 w 1844672"/>
                  <a:gd name="connsiteY1" fmla="*/ 0 h 64008"/>
                  <a:gd name="connsiteX2" fmla="*/ 1155994 w 1844672"/>
                  <a:gd name="connsiteY2" fmla="*/ 0 h 64008"/>
                  <a:gd name="connsiteX3" fmla="*/ 1844672 w 1844672"/>
                  <a:gd name="connsiteY3" fmla="*/ 0 h 64008"/>
                  <a:gd name="connsiteX4" fmla="*/ 1844672 w 1844672"/>
                  <a:gd name="connsiteY4" fmla="*/ 64008 h 64008"/>
                  <a:gd name="connsiteX5" fmla="*/ 1211335 w 1844672"/>
                  <a:gd name="connsiteY5" fmla="*/ 64008 h 64008"/>
                  <a:gd name="connsiteX6" fmla="*/ 596444 w 1844672"/>
                  <a:gd name="connsiteY6" fmla="*/ 64008 h 64008"/>
                  <a:gd name="connsiteX7" fmla="*/ 0 w 1844672"/>
                  <a:gd name="connsiteY7" fmla="*/ 64008 h 64008"/>
                  <a:gd name="connsiteX8" fmla="*/ 0 w 1844672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44672" h="64008" fill="none" extrusionOk="0">
                    <a:moveTo>
                      <a:pt x="0" y="0"/>
                    </a:moveTo>
                    <a:cubicBezTo>
                      <a:pt x="133430" y="2174"/>
                      <a:pt x="321799" y="-27205"/>
                      <a:pt x="596444" y="0"/>
                    </a:cubicBezTo>
                    <a:cubicBezTo>
                      <a:pt x="871089" y="27205"/>
                      <a:pt x="941503" y="-20758"/>
                      <a:pt x="1155994" y="0"/>
                    </a:cubicBezTo>
                    <a:cubicBezTo>
                      <a:pt x="1370485" y="20758"/>
                      <a:pt x="1572955" y="-13351"/>
                      <a:pt x="1844672" y="0"/>
                    </a:cubicBezTo>
                    <a:cubicBezTo>
                      <a:pt x="1841619" y="30602"/>
                      <a:pt x="1847861" y="41776"/>
                      <a:pt x="1844672" y="64008"/>
                    </a:cubicBezTo>
                    <a:cubicBezTo>
                      <a:pt x="1707821" y="72448"/>
                      <a:pt x="1349654" y="52067"/>
                      <a:pt x="1211335" y="64008"/>
                    </a:cubicBezTo>
                    <a:cubicBezTo>
                      <a:pt x="1073016" y="75949"/>
                      <a:pt x="747344" y="69640"/>
                      <a:pt x="596444" y="64008"/>
                    </a:cubicBezTo>
                    <a:cubicBezTo>
                      <a:pt x="445544" y="58376"/>
                      <a:pt x="142573" y="35439"/>
                      <a:pt x="0" y="64008"/>
                    </a:cubicBezTo>
                    <a:cubicBezTo>
                      <a:pt x="138" y="49379"/>
                      <a:pt x="-87" y="23460"/>
                      <a:pt x="0" y="0"/>
                    </a:cubicBezTo>
                    <a:close/>
                  </a:path>
                  <a:path w="1844672" h="64008" stroke="0" extrusionOk="0">
                    <a:moveTo>
                      <a:pt x="0" y="0"/>
                    </a:moveTo>
                    <a:cubicBezTo>
                      <a:pt x="268670" y="-21899"/>
                      <a:pt x="331843" y="-8713"/>
                      <a:pt x="633337" y="0"/>
                    </a:cubicBezTo>
                    <a:cubicBezTo>
                      <a:pt x="934831" y="8713"/>
                      <a:pt x="942244" y="-5297"/>
                      <a:pt x="1229781" y="0"/>
                    </a:cubicBezTo>
                    <a:cubicBezTo>
                      <a:pt x="1517318" y="5297"/>
                      <a:pt x="1704084" y="-10940"/>
                      <a:pt x="1844672" y="0"/>
                    </a:cubicBezTo>
                    <a:cubicBezTo>
                      <a:pt x="1842646" y="31063"/>
                      <a:pt x="1843926" y="46416"/>
                      <a:pt x="1844672" y="64008"/>
                    </a:cubicBezTo>
                    <a:cubicBezTo>
                      <a:pt x="1661350" y="74539"/>
                      <a:pt x="1543506" y="61500"/>
                      <a:pt x="1248228" y="64008"/>
                    </a:cubicBezTo>
                    <a:cubicBezTo>
                      <a:pt x="952950" y="66516"/>
                      <a:pt x="924570" y="45255"/>
                      <a:pt x="670231" y="64008"/>
                    </a:cubicBezTo>
                    <a:cubicBezTo>
                      <a:pt x="415892" y="82761"/>
                      <a:pt x="291979" y="50099"/>
                      <a:pt x="0" y="64008"/>
                    </a:cubicBezTo>
                    <a:cubicBezTo>
                      <a:pt x="-1768" y="32522"/>
                      <a:pt x="2098" y="17797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96747104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7" name="Rectangle 4">
                <a:extLst>
                  <a:ext uri="{FF2B5EF4-FFF2-40B4-BE49-F238E27FC236}">
                    <a16:creationId xmlns:a16="http://schemas.microsoft.com/office/drawing/2014/main" id="{796C9F25-70E8-4F3F-AE97-7111005DD6F4}"/>
                  </a:ext>
                </a:extLst>
              </p:cNvPr>
              <p:cNvSpPr/>
              <p:nvPr/>
            </p:nvSpPr>
            <p:spPr>
              <a:xfrm>
                <a:off x="-5305997" y="3740290"/>
                <a:ext cx="1736162" cy="64008"/>
              </a:xfrm>
              <a:custGeom>
                <a:avLst/>
                <a:gdLst>
                  <a:gd name="connsiteX0" fmla="*/ 0 w 1736162"/>
                  <a:gd name="connsiteY0" fmla="*/ 0 h 64008"/>
                  <a:gd name="connsiteX1" fmla="*/ 543997 w 1736162"/>
                  <a:gd name="connsiteY1" fmla="*/ 0 h 64008"/>
                  <a:gd name="connsiteX2" fmla="*/ 1140080 w 1736162"/>
                  <a:gd name="connsiteY2" fmla="*/ 0 h 64008"/>
                  <a:gd name="connsiteX3" fmla="*/ 1736162 w 1736162"/>
                  <a:gd name="connsiteY3" fmla="*/ 0 h 64008"/>
                  <a:gd name="connsiteX4" fmla="*/ 1736162 w 1736162"/>
                  <a:gd name="connsiteY4" fmla="*/ 64008 h 64008"/>
                  <a:gd name="connsiteX5" fmla="*/ 1192165 w 1736162"/>
                  <a:gd name="connsiteY5" fmla="*/ 64008 h 64008"/>
                  <a:gd name="connsiteX6" fmla="*/ 613444 w 1736162"/>
                  <a:gd name="connsiteY6" fmla="*/ 64008 h 64008"/>
                  <a:gd name="connsiteX7" fmla="*/ 0 w 1736162"/>
                  <a:gd name="connsiteY7" fmla="*/ 64008 h 64008"/>
                  <a:gd name="connsiteX8" fmla="*/ 0 w 1736162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36162" h="64008" fill="none" extrusionOk="0">
                    <a:moveTo>
                      <a:pt x="0" y="0"/>
                    </a:moveTo>
                    <a:cubicBezTo>
                      <a:pt x="169287" y="19377"/>
                      <a:pt x="385976" y="10977"/>
                      <a:pt x="543997" y="0"/>
                    </a:cubicBezTo>
                    <a:cubicBezTo>
                      <a:pt x="702018" y="-10977"/>
                      <a:pt x="1007457" y="5211"/>
                      <a:pt x="1140080" y="0"/>
                    </a:cubicBezTo>
                    <a:cubicBezTo>
                      <a:pt x="1272703" y="-5211"/>
                      <a:pt x="1456371" y="332"/>
                      <a:pt x="1736162" y="0"/>
                    </a:cubicBezTo>
                    <a:cubicBezTo>
                      <a:pt x="1736836" y="13239"/>
                      <a:pt x="1733888" y="45150"/>
                      <a:pt x="1736162" y="64008"/>
                    </a:cubicBezTo>
                    <a:cubicBezTo>
                      <a:pt x="1574186" y="48538"/>
                      <a:pt x="1313465" y="75398"/>
                      <a:pt x="1192165" y="64008"/>
                    </a:cubicBezTo>
                    <a:cubicBezTo>
                      <a:pt x="1070865" y="52618"/>
                      <a:pt x="841883" y="45025"/>
                      <a:pt x="613444" y="64008"/>
                    </a:cubicBezTo>
                    <a:cubicBezTo>
                      <a:pt x="385005" y="82991"/>
                      <a:pt x="232881" y="44839"/>
                      <a:pt x="0" y="64008"/>
                    </a:cubicBezTo>
                    <a:cubicBezTo>
                      <a:pt x="1835" y="34295"/>
                      <a:pt x="920" y="24304"/>
                      <a:pt x="0" y="0"/>
                    </a:cubicBezTo>
                    <a:close/>
                  </a:path>
                  <a:path w="1736162" h="64008" stroke="0" extrusionOk="0">
                    <a:moveTo>
                      <a:pt x="0" y="0"/>
                    </a:moveTo>
                    <a:cubicBezTo>
                      <a:pt x="187598" y="-21807"/>
                      <a:pt x="387003" y="-21957"/>
                      <a:pt x="543997" y="0"/>
                    </a:cubicBezTo>
                    <a:cubicBezTo>
                      <a:pt x="700991" y="21957"/>
                      <a:pt x="835058" y="-14823"/>
                      <a:pt x="1070633" y="0"/>
                    </a:cubicBezTo>
                    <a:cubicBezTo>
                      <a:pt x="1306208" y="14823"/>
                      <a:pt x="1519047" y="21812"/>
                      <a:pt x="1736162" y="0"/>
                    </a:cubicBezTo>
                    <a:cubicBezTo>
                      <a:pt x="1736570" y="21212"/>
                      <a:pt x="1738107" y="36781"/>
                      <a:pt x="1736162" y="64008"/>
                    </a:cubicBezTo>
                    <a:cubicBezTo>
                      <a:pt x="1560083" y="55650"/>
                      <a:pt x="1326650" y="81988"/>
                      <a:pt x="1140080" y="64008"/>
                    </a:cubicBezTo>
                    <a:cubicBezTo>
                      <a:pt x="953510" y="46028"/>
                      <a:pt x="749917" y="48947"/>
                      <a:pt x="613444" y="64008"/>
                    </a:cubicBezTo>
                    <a:cubicBezTo>
                      <a:pt x="476971" y="79069"/>
                      <a:pt x="197372" y="65701"/>
                      <a:pt x="0" y="64008"/>
                    </a:cubicBezTo>
                    <a:cubicBezTo>
                      <a:pt x="608" y="42010"/>
                      <a:pt x="614" y="26928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346402959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8" name="Rectangle 3">
                <a:extLst>
                  <a:ext uri="{FF2B5EF4-FFF2-40B4-BE49-F238E27FC236}">
                    <a16:creationId xmlns:a16="http://schemas.microsoft.com/office/drawing/2014/main" id="{480F0D89-08C4-4508-9C12-B056F786E8E0}"/>
                  </a:ext>
                </a:extLst>
              </p:cNvPr>
              <p:cNvSpPr/>
              <p:nvPr/>
            </p:nvSpPr>
            <p:spPr>
              <a:xfrm>
                <a:off x="-5305998" y="3600583"/>
                <a:ext cx="1417320" cy="64008"/>
              </a:xfrm>
              <a:custGeom>
                <a:avLst/>
                <a:gdLst>
                  <a:gd name="connsiteX0" fmla="*/ 0 w 1417320"/>
                  <a:gd name="connsiteY0" fmla="*/ 0 h 64008"/>
                  <a:gd name="connsiteX1" fmla="*/ 472440 w 1417320"/>
                  <a:gd name="connsiteY1" fmla="*/ 0 h 64008"/>
                  <a:gd name="connsiteX2" fmla="*/ 944880 w 1417320"/>
                  <a:gd name="connsiteY2" fmla="*/ 0 h 64008"/>
                  <a:gd name="connsiteX3" fmla="*/ 1417320 w 1417320"/>
                  <a:gd name="connsiteY3" fmla="*/ 0 h 64008"/>
                  <a:gd name="connsiteX4" fmla="*/ 1417320 w 1417320"/>
                  <a:gd name="connsiteY4" fmla="*/ 64008 h 64008"/>
                  <a:gd name="connsiteX5" fmla="*/ 987400 w 1417320"/>
                  <a:gd name="connsiteY5" fmla="*/ 64008 h 64008"/>
                  <a:gd name="connsiteX6" fmla="*/ 543306 w 1417320"/>
                  <a:gd name="connsiteY6" fmla="*/ 64008 h 64008"/>
                  <a:gd name="connsiteX7" fmla="*/ 0 w 1417320"/>
                  <a:gd name="connsiteY7" fmla="*/ 64008 h 64008"/>
                  <a:gd name="connsiteX8" fmla="*/ 0 w 1417320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17320" h="64008" fill="none" extrusionOk="0">
                    <a:moveTo>
                      <a:pt x="0" y="0"/>
                    </a:moveTo>
                    <a:cubicBezTo>
                      <a:pt x="172476" y="-12263"/>
                      <a:pt x="300862" y="6618"/>
                      <a:pt x="472440" y="0"/>
                    </a:cubicBezTo>
                    <a:cubicBezTo>
                      <a:pt x="644018" y="-6618"/>
                      <a:pt x="811782" y="13979"/>
                      <a:pt x="944880" y="0"/>
                    </a:cubicBezTo>
                    <a:cubicBezTo>
                      <a:pt x="1077978" y="-13979"/>
                      <a:pt x="1310323" y="6297"/>
                      <a:pt x="1417320" y="0"/>
                    </a:cubicBezTo>
                    <a:cubicBezTo>
                      <a:pt x="1415712" y="21440"/>
                      <a:pt x="1418462" y="44330"/>
                      <a:pt x="1417320" y="64008"/>
                    </a:cubicBezTo>
                    <a:cubicBezTo>
                      <a:pt x="1320628" y="53922"/>
                      <a:pt x="1189384" y="63009"/>
                      <a:pt x="987400" y="64008"/>
                    </a:cubicBezTo>
                    <a:cubicBezTo>
                      <a:pt x="785416" y="65007"/>
                      <a:pt x="716371" y="66290"/>
                      <a:pt x="543306" y="64008"/>
                    </a:cubicBezTo>
                    <a:cubicBezTo>
                      <a:pt x="370241" y="61726"/>
                      <a:pt x="134669" y="57741"/>
                      <a:pt x="0" y="64008"/>
                    </a:cubicBezTo>
                    <a:cubicBezTo>
                      <a:pt x="409" y="45207"/>
                      <a:pt x="1877" y="23549"/>
                      <a:pt x="0" y="0"/>
                    </a:cubicBezTo>
                    <a:close/>
                  </a:path>
                  <a:path w="1417320" h="64008" stroke="0" extrusionOk="0">
                    <a:moveTo>
                      <a:pt x="0" y="0"/>
                    </a:moveTo>
                    <a:cubicBezTo>
                      <a:pt x="205060" y="-6210"/>
                      <a:pt x="243032" y="-22179"/>
                      <a:pt x="444094" y="0"/>
                    </a:cubicBezTo>
                    <a:cubicBezTo>
                      <a:pt x="645156" y="22179"/>
                      <a:pt x="717651" y="5670"/>
                      <a:pt x="874014" y="0"/>
                    </a:cubicBezTo>
                    <a:cubicBezTo>
                      <a:pt x="1030377" y="-5670"/>
                      <a:pt x="1191037" y="-19866"/>
                      <a:pt x="1417320" y="0"/>
                    </a:cubicBezTo>
                    <a:cubicBezTo>
                      <a:pt x="1415188" y="30430"/>
                      <a:pt x="1415764" y="32343"/>
                      <a:pt x="1417320" y="64008"/>
                    </a:cubicBezTo>
                    <a:cubicBezTo>
                      <a:pt x="1213923" y="57738"/>
                      <a:pt x="1054081" y="80898"/>
                      <a:pt x="930707" y="64008"/>
                    </a:cubicBezTo>
                    <a:cubicBezTo>
                      <a:pt x="807333" y="47118"/>
                      <a:pt x="648433" y="79613"/>
                      <a:pt x="444094" y="64008"/>
                    </a:cubicBezTo>
                    <a:cubicBezTo>
                      <a:pt x="239755" y="48403"/>
                      <a:pt x="136444" y="65796"/>
                      <a:pt x="0" y="64008"/>
                    </a:cubicBezTo>
                    <a:cubicBezTo>
                      <a:pt x="1102" y="49953"/>
                      <a:pt x="1211" y="2169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5822892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9" name="Rectangle 2">
                <a:extLst>
                  <a:ext uri="{FF2B5EF4-FFF2-40B4-BE49-F238E27FC236}">
                    <a16:creationId xmlns:a16="http://schemas.microsoft.com/office/drawing/2014/main" id="{B1AE8916-5636-482D-A8D3-8A28C8932AFB}"/>
                  </a:ext>
                </a:extLst>
              </p:cNvPr>
              <p:cNvSpPr/>
              <p:nvPr/>
            </p:nvSpPr>
            <p:spPr>
              <a:xfrm>
                <a:off x="-5305997" y="3460876"/>
                <a:ext cx="1519141" cy="64008"/>
              </a:xfrm>
              <a:custGeom>
                <a:avLst/>
                <a:gdLst>
                  <a:gd name="connsiteX0" fmla="*/ 0 w 1519141"/>
                  <a:gd name="connsiteY0" fmla="*/ 0 h 64008"/>
                  <a:gd name="connsiteX1" fmla="*/ 521572 w 1519141"/>
                  <a:gd name="connsiteY1" fmla="*/ 0 h 64008"/>
                  <a:gd name="connsiteX2" fmla="*/ 982378 w 1519141"/>
                  <a:gd name="connsiteY2" fmla="*/ 0 h 64008"/>
                  <a:gd name="connsiteX3" fmla="*/ 1519141 w 1519141"/>
                  <a:gd name="connsiteY3" fmla="*/ 0 h 64008"/>
                  <a:gd name="connsiteX4" fmla="*/ 1519141 w 1519141"/>
                  <a:gd name="connsiteY4" fmla="*/ 64008 h 64008"/>
                  <a:gd name="connsiteX5" fmla="*/ 1043143 w 1519141"/>
                  <a:gd name="connsiteY5" fmla="*/ 64008 h 64008"/>
                  <a:gd name="connsiteX6" fmla="*/ 521572 w 1519141"/>
                  <a:gd name="connsiteY6" fmla="*/ 64008 h 64008"/>
                  <a:gd name="connsiteX7" fmla="*/ 0 w 1519141"/>
                  <a:gd name="connsiteY7" fmla="*/ 64008 h 64008"/>
                  <a:gd name="connsiteX8" fmla="*/ 0 w 1519141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19141" h="64008" fill="none" extrusionOk="0">
                    <a:moveTo>
                      <a:pt x="0" y="0"/>
                    </a:moveTo>
                    <a:cubicBezTo>
                      <a:pt x="157331" y="18776"/>
                      <a:pt x="310885" y="23986"/>
                      <a:pt x="521572" y="0"/>
                    </a:cubicBezTo>
                    <a:cubicBezTo>
                      <a:pt x="732259" y="-23986"/>
                      <a:pt x="829593" y="-11586"/>
                      <a:pt x="982378" y="0"/>
                    </a:cubicBezTo>
                    <a:cubicBezTo>
                      <a:pt x="1135163" y="11586"/>
                      <a:pt x="1281389" y="23694"/>
                      <a:pt x="1519141" y="0"/>
                    </a:cubicBezTo>
                    <a:cubicBezTo>
                      <a:pt x="1521526" y="21195"/>
                      <a:pt x="1517779" y="40259"/>
                      <a:pt x="1519141" y="64008"/>
                    </a:cubicBezTo>
                    <a:cubicBezTo>
                      <a:pt x="1360694" y="66216"/>
                      <a:pt x="1184724" y="80616"/>
                      <a:pt x="1043143" y="64008"/>
                    </a:cubicBezTo>
                    <a:cubicBezTo>
                      <a:pt x="901562" y="47400"/>
                      <a:pt x="705663" y="50028"/>
                      <a:pt x="521572" y="64008"/>
                    </a:cubicBezTo>
                    <a:cubicBezTo>
                      <a:pt x="337481" y="77988"/>
                      <a:pt x="169271" y="44704"/>
                      <a:pt x="0" y="64008"/>
                    </a:cubicBezTo>
                    <a:cubicBezTo>
                      <a:pt x="1392" y="38336"/>
                      <a:pt x="-2713" y="22734"/>
                      <a:pt x="0" y="0"/>
                    </a:cubicBezTo>
                    <a:close/>
                  </a:path>
                  <a:path w="1519141" h="64008" stroke="0" extrusionOk="0">
                    <a:moveTo>
                      <a:pt x="0" y="0"/>
                    </a:moveTo>
                    <a:cubicBezTo>
                      <a:pt x="176415" y="15482"/>
                      <a:pt x="309742" y="21797"/>
                      <a:pt x="475998" y="0"/>
                    </a:cubicBezTo>
                    <a:cubicBezTo>
                      <a:pt x="642254" y="-21797"/>
                      <a:pt x="803493" y="-19392"/>
                      <a:pt x="951995" y="0"/>
                    </a:cubicBezTo>
                    <a:cubicBezTo>
                      <a:pt x="1100497" y="19392"/>
                      <a:pt x="1323262" y="-18984"/>
                      <a:pt x="1519141" y="0"/>
                    </a:cubicBezTo>
                    <a:cubicBezTo>
                      <a:pt x="1522006" y="15624"/>
                      <a:pt x="1518343" y="49211"/>
                      <a:pt x="1519141" y="64008"/>
                    </a:cubicBezTo>
                    <a:cubicBezTo>
                      <a:pt x="1403904" y="63628"/>
                      <a:pt x="1204155" y="59630"/>
                      <a:pt x="1058335" y="64008"/>
                    </a:cubicBezTo>
                    <a:cubicBezTo>
                      <a:pt x="912515" y="68386"/>
                      <a:pt x="789779" y="49739"/>
                      <a:pt x="521572" y="64008"/>
                    </a:cubicBezTo>
                    <a:cubicBezTo>
                      <a:pt x="253365" y="78277"/>
                      <a:pt x="180795" y="75813"/>
                      <a:pt x="0" y="64008"/>
                    </a:cubicBezTo>
                    <a:cubicBezTo>
                      <a:pt x="1855" y="44649"/>
                      <a:pt x="-615" y="2657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3705000160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7" name="Rectangle 1">
                <a:extLst>
                  <a:ext uri="{FF2B5EF4-FFF2-40B4-BE49-F238E27FC236}">
                    <a16:creationId xmlns:a16="http://schemas.microsoft.com/office/drawing/2014/main" id="{02C93F59-6F34-43AD-B3C4-3E9D4C1590D2}"/>
                  </a:ext>
                </a:extLst>
              </p:cNvPr>
              <p:cNvSpPr/>
              <p:nvPr/>
            </p:nvSpPr>
            <p:spPr>
              <a:xfrm>
                <a:off x="-5305997" y="3321169"/>
                <a:ext cx="1305124" cy="64008"/>
              </a:xfrm>
              <a:custGeom>
                <a:avLst/>
                <a:gdLst>
                  <a:gd name="connsiteX0" fmla="*/ 0 w 1305124"/>
                  <a:gd name="connsiteY0" fmla="*/ 0 h 64008"/>
                  <a:gd name="connsiteX1" fmla="*/ 678664 w 1305124"/>
                  <a:gd name="connsiteY1" fmla="*/ 0 h 64008"/>
                  <a:gd name="connsiteX2" fmla="*/ 1305124 w 1305124"/>
                  <a:gd name="connsiteY2" fmla="*/ 0 h 64008"/>
                  <a:gd name="connsiteX3" fmla="*/ 1305124 w 1305124"/>
                  <a:gd name="connsiteY3" fmla="*/ 64008 h 64008"/>
                  <a:gd name="connsiteX4" fmla="*/ 665613 w 1305124"/>
                  <a:gd name="connsiteY4" fmla="*/ 64008 h 64008"/>
                  <a:gd name="connsiteX5" fmla="*/ 0 w 1305124"/>
                  <a:gd name="connsiteY5" fmla="*/ 64008 h 64008"/>
                  <a:gd name="connsiteX6" fmla="*/ 0 w 1305124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5124" h="64008" fill="none" extrusionOk="0">
                    <a:moveTo>
                      <a:pt x="0" y="0"/>
                    </a:moveTo>
                    <a:cubicBezTo>
                      <a:pt x="220386" y="-3019"/>
                      <a:pt x="527234" y="-11117"/>
                      <a:pt x="678664" y="0"/>
                    </a:cubicBezTo>
                    <a:cubicBezTo>
                      <a:pt x="830094" y="11117"/>
                      <a:pt x="1152204" y="-24228"/>
                      <a:pt x="1305124" y="0"/>
                    </a:cubicBezTo>
                    <a:cubicBezTo>
                      <a:pt x="1308271" y="21123"/>
                      <a:pt x="1303652" y="35558"/>
                      <a:pt x="1305124" y="64008"/>
                    </a:cubicBezTo>
                    <a:cubicBezTo>
                      <a:pt x="1058220" y="61625"/>
                      <a:pt x="949724" y="92120"/>
                      <a:pt x="665613" y="64008"/>
                    </a:cubicBezTo>
                    <a:cubicBezTo>
                      <a:pt x="381502" y="35896"/>
                      <a:pt x="155044" y="90021"/>
                      <a:pt x="0" y="64008"/>
                    </a:cubicBezTo>
                    <a:cubicBezTo>
                      <a:pt x="-2411" y="33843"/>
                      <a:pt x="1447" y="23221"/>
                      <a:pt x="0" y="0"/>
                    </a:cubicBezTo>
                    <a:close/>
                  </a:path>
                  <a:path w="1305124" h="64008" stroke="0" extrusionOk="0">
                    <a:moveTo>
                      <a:pt x="0" y="0"/>
                    </a:moveTo>
                    <a:cubicBezTo>
                      <a:pt x="248034" y="31975"/>
                      <a:pt x="374747" y="16710"/>
                      <a:pt x="639511" y="0"/>
                    </a:cubicBezTo>
                    <a:cubicBezTo>
                      <a:pt x="904275" y="-16710"/>
                      <a:pt x="1086598" y="31972"/>
                      <a:pt x="1305124" y="0"/>
                    </a:cubicBezTo>
                    <a:cubicBezTo>
                      <a:pt x="1306620" y="25188"/>
                      <a:pt x="1305561" y="50929"/>
                      <a:pt x="1305124" y="64008"/>
                    </a:cubicBezTo>
                    <a:cubicBezTo>
                      <a:pt x="1043616" y="43902"/>
                      <a:pt x="894925" y="41354"/>
                      <a:pt x="652562" y="64008"/>
                    </a:cubicBezTo>
                    <a:cubicBezTo>
                      <a:pt x="410199" y="86662"/>
                      <a:pt x="309688" y="68652"/>
                      <a:pt x="0" y="64008"/>
                    </a:cubicBezTo>
                    <a:cubicBezTo>
                      <a:pt x="-2503" y="44586"/>
                      <a:pt x="3172" y="2066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90" name="Placeholder Lines 4">
              <a:extLst>
                <a:ext uri="{FF2B5EF4-FFF2-40B4-BE49-F238E27FC236}">
                  <a16:creationId xmlns:a16="http://schemas.microsoft.com/office/drawing/2014/main" id="{EF1656AA-FCB1-45AF-AE5C-A99A6CF7FC07}"/>
                </a:ext>
              </a:extLst>
            </p:cNvPr>
            <p:cNvGrpSpPr/>
            <p:nvPr/>
          </p:nvGrpSpPr>
          <p:grpSpPr>
            <a:xfrm>
              <a:off x="11824848" y="4316998"/>
              <a:ext cx="1840041" cy="622836"/>
              <a:chOff x="-5305997" y="4121050"/>
              <a:chExt cx="1840041" cy="622836"/>
            </a:xfrm>
          </p:grpSpPr>
          <p:sp>
            <p:nvSpPr>
              <p:cNvPr id="291" name="Rectangle 5">
                <a:extLst>
                  <a:ext uri="{FF2B5EF4-FFF2-40B4-BE49-F238E27FC236}">
                    <a16:creationId xmlns:a16="http://schemas.microsoft.com/office/drawing/2014/main" id="{68C124F4-5EE7-4F34-937B-F8918B75ED80}"/>
                  </a:ext>
                </a:extLst>
              </p:cNvPr>
              <p:cNvSpPr/>
              <p:nvPr/>
            </p:nvSpPr>
            <p:spPr>
              <a:xfrm>
                <a:off x="-5305997" y="4679878"/>
                <a:ext cx="1730186" cy="64008"/>
              </a:xfrm>
              <a:custGeom>
                <a:avLst/>
                <a:gdLst>
                  <a:gd name="connsiteX0" fmla="*/ 0 w 1730186"/>
                  <a:gd name="connsiteY0" fmla="*/ 0 h 64008"/>
                  <a:gd name="connsiteX1" fmla="*/ 559427 w 1730186"/>
                  <a:gd name="connsiteY1" fmla="*/ 0 h 64008"/>
                  <a:gd name="connsiteX2" fmla="*/ 1084250 w 1730186"/>
                  <a:gd name="connsiteY2" fmla="*/ 0 h 64008"/>
                  <a:gd name="connsiteX3" fmla="*/ 1730186 w 1730186"/>
                  <a:gd name="connsiteY3" fmla="*/ 0 h 64008"/>
                  <a:gd name="connsiteX4" fmla="*/ 1730186 w 1730186"/>
                  <a:gd name="connsiteY4" fmla="*/ 64008 h 64008"/>
                  <a:gd name="connsiteX5" fmla="*/ 1136155 w 1730186"/>
                  <a:gd name="connsiteY5" fmla="*/ 64008 h 64008"/>
                  <a:gd name="connsiteX6" fmla="*/ 559427 w 1730186"/>
                  <a:gd name="connsiteY6" fmla="*/ 64008 h 64008"/>
                  <a:gd name="connsiteX7" fmla="*/ 0 w 1730186"/>
                  <a:gd name="connsiteY7" fmla="*/ 64008 h 64008"/>
                  <a:gd name="connsiteX8" fmla="*/ 0 w 1730186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30186" h="64008" fill="none" extrusionOk="0">
                    <a:moveTo>
                      <a:pt x="0" y="0"/>
                    </a:moveTo>
                    <a:cubicBezTo>
                      <a:pt x="245617" y="-27607"/>
                      <a:pt x="309435" y="-14826"/>
                      <a:pt x="559427" y="0"/>
                    </a:cubicBezTo>
                    <a:cubicBezTo>
                      <a:pt x="809419" y="14826"/>
                      <a:pt x="860820" y="11374"/>
                      <a:pt x="1084250" y="0"/>
                    </a:cubicBezTo>
                    <a:cubicBezTo>
                      <a:pt x="1307680" y="-11374"/>
                      <a:pt x="1517575" y="-5817"/>
                      <a:pt x="1730186" y="0"/>
                    </a:cubicBezTo>
                    <a:cubicBezTo>
                      <a:pt x="1727133" y="30602"/>
                      <a:pt x="1733375" y="41776"/>
                      <a:pt x="1730186" y="64008"/>
                    </a:cubicBezTo>
                    <a:cubicBezTo>
                      <a:pt x="1524949" y="64933"/>
                      <a:pt x="1364806" y="54530"/>
                      <a:pt x="1136155" y="64008"/>
                    </a:cubicBezTo>
                    <a:cubicBezTo>
                      <a:pt x="907504" y="73486"/>
                      <a:pt x="691070" y="73120"/>
                      <a:pt x="559427" y="64008"/>
                    </a:cubicBezTo>
                    <a:cubicBezTo>
                      <a:pt x="427784" y="54896"/>
                      <a:pt x="238429" y="48464"/>
                      <a:pt x="0" y="64008"/>
                    </a:cubicBezTo>
                    <a:cubicBezTo>
                      <a:pt x="138" y="49379"/>
                      <a:pt x="-87" y="23460"/>
                      <a:pt x="0" y="0"/>
                    </a:cubicBezTo>
                    <a:close/>
                  </a:path>
                  <a:path w="1730186" h="64008" stroke="0" extrusionOk="0">
                    <a:moveTo>
                      <a:pt x="0" y="0"/>
                    </a:moveTo>
                    <a:cubicBezTo>
                      <a:pt x="280749" y="-20340"/>
                      <a:pt x="418050" y="-18265"/>
                      <a:pt x="594031" y="0"/>
                    </a:cubicBezTo>
                    <a:cubicBezTo>
                      <a:pt x="770012" y="18265"/>
                      <a:pt x="879186" y="10916"/>
                      <a:pt x="1153457" y="0"/>
                    </a:cubicBezTo>
                    <a:cubicBezTo>
                      <a:pt x="1427728" y="-10916"/>
                      <a:pt x="1590328" y="-228"/>
                      <a:pt x="1730186" y="0"/>
                    </a:cubicBezTo>
                    <a:cubicBezTo>
                      <a:pt x="1728160" y="31063"/>
                      <a:pt x="1729440" y="46416"/>
                      <a:pt x="1730186" y="64008"/>
                    </a:cubicBezTo>
                    <a:cubicBezTo>
                      <a:pt x="1553034" y="47323"/>
                      <a:pt x="1429567" y="69321"/>
                      <a:pt x="1170759" y="64008"/>
                    </a:cubicBezTo>
                    <a:cubicBezTo>
                      <a:pt x="911951" y="58695"/>
                      <a:pt x="883737" y="86821"/>
                      <a:pt x="628634" y="64008"/>
                    </a:cubicBezTo>
                    <a:cubicBezTo>
                      <a:pt x="373532" y="41195"/>
                      <a:pt x="192075" y="37806"/>
                      <a:pt x="0" y="64008"/>
                    </a:cubicBezTo>
                    <a:cubicBezTo>
                      <a:pt x="-1768" y="32522"/>
                      <a:pt x="2098" y="17797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96747104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2" name="Rectangle 4">
                <a:extLst>
                  <a:ext uri="{FF2B5EF4-FFF2-40B4-BE49-F238E27FC236}">
                    <a16:creationId xmlns:a16="http://schemas.microsoft.com/office/drawing/2014/main" id="{D01F48A2-6431-49F8-86DA-0018DAEABADA}"/>
                  </a:ext>
                </a:extLst>
              </p:cNvPr>
              <p:cNvSpPr/>
              <p:nvPr/>
            </p:nvSpPr>
            <p:spPr>
              <a:xfrm>
                <a:off x="-5305997" y="4540171"/>
                <a:ext cx="1826308" cy="64008"/>
              </a:xfrm>
              <a:custGeom>
                <a:avLst/>
                <a:gdLst>
                  <a:gd name="connsiteX0" fmla="*/ 0 w 1826308"/>
                  <a:gd name="connsiteY0" fmla="*/ 0 h 64008"/>
                  <a:gd name="connsiteX1" fmla="*/ 572243 w 1826308"/>
                  <a:gd name="connsiteY1" fmla="*/ 0 h 64008"/>
                  <a:gd name="connsiteX2" fmla="*/ 1199276 w 1826308"/>
                  <a:gd name="connsiteY2" fmla="*/ 0 h 64008"/>
                  <a:gd name="connsiteX3" fmla="*/ 1826308 w 1826308"/>
                  <a:gd name="connsiteY3" fmla="*/ 0 h 64008"/>
                  <a:gd name="connsiteX4" fmla="*/ 1826308 w 1826308"/>
                  <a:gd name="connsiteY4" fmla="*/ 64008 h 64008"/>
                  <a:gd name="connsiteX5" fmla="*/ 1254065 w 1826308"/>
                  <a:gd name="connsiteY5" fmla="*/ 64008 h 64008"/>
                  <a:gd name="connsiteX6" fmla="*/ 645295 w 1826308"/>
                  <a:gd name="connsiteY6" fmla="*/ 64008 h 64008"/>
                  <a:gd name="connsiteX7" fmla="*/ 0 w 1826308"/>
                  <a:gd name="connsiteY7" fmla="*/ 64008 h 64008"/>
                  <a:gd name="connsiteX8" fmla="*/ 0 w 1826308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26308" h="64008" fill="none" extrusionOk="0">
                    <a:moveTo>
                      <a:pt x="0" y="0"/>
                    </a:moveTo>
                    <a:cubicBezTo>
                      <a:pt x="179124" y="8329"/>
                      <a:pt x="286133" y="11020"/>
                      <a:pt x="572243" y="0"/>
                    </a:cubicBezTo>
                    <a:cubicBezTo>
                      <a:pt x="858353" y="-11020"/>
                      <a:pt x="1025822" y="-23543"/>
                      <a:pt x="1199276" y="0"/>
                    </a:cubicBezTo>
                    <a:cubicBezTo>
                      <a:pt x="1372730" y="23543"/>
                      <a:pt x="1646255" y="-23761"/>
                      <a:pt x="1826308" y="0"/>
                    </a:cubicBezTo>
                    <a:cubicBezTo>
                      <a:pt x="1826982" y="13239"/>
                      <a:pt x="1824034" y="45150"/>
                      <a:pt x="1826308" y="64008"/>
                    </a:cubicBezTo>
                    <a:cubicBezTo>
                      <a:pt x="1603626" y="60314"/>
                      <a:pt x="1476581" y="36441"/>
                      <a:pt x="1254065" y="64008"/>
                    </a:cubicBezTo>
                    <a:cubicBezTo>
                      <a:pt x="1031549" y="91575"/>
                      <a:pt x="893462" y="64719"/>
                      <a:pt x="645295" y="64008"/>
                    </a:cubicBezTo>
                    <a:cubicBezTo>
                      <a:pt x="397128" y="63298"/>
                      <a:pt x="164197" y="43075"/>
                      <a:pt x="0" y="64008"/>
                    </a:cubicBezTo>
                    <a:cubicBezTo>
                      <a:pt x="1835" y="34295"/>
                      <a:pt x="920" y="24304"/>
                      <a:pt x="0" y="0"/>
                    </a:cubicBezTo>
                    <a:close/>
                  </a:path>
                  <a:path w="1826308" h="64008" stroke="0" extrusionOk="0">
                    <a:moveTo>
                      <a:pt x="0" y="0"/>
                    </a:moveTo>
                    <a:cubicBezTo>
                      <a:pt x="246641" y="-27206"/>
                      <a:pt x="378303" y="-15323"/>
                      <a:pt x="572243" y="0"/>
                    </a:cubicBezTo>
                    <a:cubicBezTo>
                      <a:pt x="766183" y="15323"/>
                      <a:pt x="980249" y="-6628"/>
                      <a:pt x="1126223" y="0"/>
                    </a:cubicBezTo>
                    <a:cubicBezTo>
                      <a:pt x="1272197" y="6628"/>
                      <a:pt x="1531141" y="-21855"/>
                      <a:pt x="1826308" y="0"/>
                    </a:cubicBezTo>
                    <a:cubicBezTo>
                      <a:pt x="1826716" y="21212"/>
                      <a:pt x="1828253" y="36781"/>
                      <a:pt x="1826308" y="64008"/>
                    </a:cubicBezTo>
                    <a:cubicBezTo>
                      <a:pt x="1553077" y="84753"/>
                      <a:pt x="1408844" y="49021"/>
                      <a:pt x="1199276" y="64008"/>
                    </a:cubicBezTo>
                    <a:cubicBezTo>
                      <a:pt x="989708" y="78995"/>
                      <a:pt x="810095" y="70989"/>
                      <a:pt x="645295" y="64008"/>
                    </a:cubicBezTo>
                    <a:cubicBezTo>
                      <a:pt x="480495" y="57027"/>
                      <a:pt x="316801" y="92387"/>
                      <a:pt x="0" y="64008"/>
                    </a:cubicBezTo>
                    <a:cubicBezTo>
                      <a:pt x="608" y="42010"/>
                      <a:pt x="614" y="26928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346402959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3" name="Rectangle 3">
                <a:extLst>
                  <a:ext uri="{FF2B5EF4-FFF2-40B4-BE49-F238E27FC236}">
                    <a16:creationId xmlns:a16="http://schemas.microsoft.com/office/drawing/2014/main" id="{E1A9731E-4522-47AC-9927-3057917BD624}"/>
                  </a:ext>
                </a:extLst>
              </p:cNvPr>
              <p:cNvSpPr/>
              <p:nvPr/>
            </p:nvSpPr>
            <p:spPr>
              <a:xfrm>
                <a:off x="-5305997" y="4400464"/>
                <a:ext cx="1508760" cy="64008"/>
              </a:xfrm>
              <a:custGeom>
                <a:avLst/>
                <a:gdLst>
                  <a:gd name="connsiteX0" fmla="*/ 0 w 1508760"/>
                  <a:gd name="connsiteY0" fmla="*/ 0 h 64008"/>
                  <a:gd name="connsiteX1" fmla="*/ 502920 w 1508760"/>
                  <a:gd name="connsiteY1" fmla="*/ 0 h 64008"/>
                  <a:gd name="connsiteX2" fmla="*/ 1005840 w 1508760"/>
                  <a:gd name="connsiteY2" fmla="*/ 0 h 64008"/>
                  <a:gd name="connsiteX3" fmla="*/ 1508760 w 1508760"/>
                  <a:gd name="connsiteY3" fmla="*/ 0 h 64008"/>
                  <a:gd name="connsiteX4" fmla="*/ 1508760 w 1508760"/>
                  <a:gd name="connsiteY4" fmla="*/ 64008 h 64008"/>
                  <a:gd name="connsiteX5" fmla="*/ 1051103 w 1508760"/>
                  <a:gd name="connsiteY5" fmla="*/ 64008 h 64008"/>
                  <a:gd name="connsiteX6" fmla="*/ 578358 w 1508760"/>
                  <a:gd name="connsiteY6" fmla="*/ 64008 h 64008"/>
                  <a:gd name="connsiteX7" fmla="*/ 0 w 1508760"/>
                  <a:gd name="connsiteY7" fmla="*/ 64008 h 64008"/>
                  <a:gd name="connsiteX8" fmla="*/ 0 w 1508760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8760" h="64008" fill="none" extrusionOk="0">
                    <a:moveTo>
                      <a:pt x="0" y="0"/>
                    </a:moveTo>
                    <a:cubicBezTo>
                      <a:pt x="188612" y="1453"/>
                      <a:pt x="321415" y="11190"/>
                      <a:pt x="502920" y="0"/>
                    </a:cubicBezTo>
                    <a:cubicBezTo>
                      <a:pt x="684425" y="-11190"/>
                      <a:pt x="776576" y="-21073"/>
                      <a:pt x="1005840" y="0"/>
                    </a:cubicBezTo>
                    <a:cubicBezTo>
                      <a:pt x="1235104" y="21073"/>
                      <a:pt x="1309252" y="12393"/>
                      <a:pt x="1508760" y="0"/>
                    </a:cubicBezTo>
                    <a:cubicBezTo>
                      <a:pt x="1507152" y="21440"/>
                      <a:pt x="1509902" y="44330"/>
                      <a:pt x="1508760" y="64008"/>
                    </a:cubicBezTo>
                    <a:cubicBezTo>
                      <a:pt x="1348324" y="73882"/>
                      <a:pt x="1275357" y="65060"/>
                      <a:pt x="1051103" y="64008"/>
                    </a:cubicBezTo>
                    <a:cubicBezTo>
                      <a:pt x="826849" y="62956"/>
                      <a:pt x="692183" y="63686"/>
                      <a:pt x="578358" y="64008"/>
                    </a:cubicBezTo>
                    <a:cubicBezTo>
                      <a:pt x="464534" y="64330"/>
                      <a:pt x="277150" y="36710"/>
                      <a:pt x="0" y="64008"/>
                    </a:cubicBezTo>
                    <a:cubicBezTo>
                      <a:pt x="409" y="45207"/>
                      <a:pt x="1877" y="23549"/>
                      <a:pt x="0" y="0"/>
                    </a:cubicBezTo>
                    <a:close/>
                  </a:path>
                  <a:path w="1508760" h="64008" stroke="0" extrusionOk="0">
                    <a:moveTo>
                      <a:pt x="0" y="0"/>
                    </a:moveTo>
                    <a:cubicBezTo>
                      <a:pt x="169175" y="2042"/>
                      <a:pt x="324493" y="-14822"/>
                      <a:pt x="472745" y="0"/>
                    </a:cubicBezTo>
                    <a:cubicBezTo>
                      <a:pt x="620997" y="14822"/>
                      <a:pt x="726840" y="-11515"/>
                      <a:pt x="930402" y="0"/>
                    </a:cubicBezTo>
                    <a:cubicBezTo>
                      <a:pt x="1133964" y="11515"/>
                      <a:pt x="1329080" y="-28629"/>
                      <a:pt x="1508760" y="0"/>
                    </a:cubicBezTo>
                    <a:cubicBezTo>
                      <a:pt x="1506628" y="30430"/>
                      <a:pt x="1507204" y="32343"/>
                      <a:pt x="1508760" y="64008"/>
                    </a:cubicBezTo>
                    <a:cubicBezTo>
                      <a:pt x="1391829" y="44491"/>
                      <a:pt x="1208464" y="60818"/>
                      <a:pt x="990752" y="64008"/>
                    </a:cubicBezTo>
                    <a:cubicBezTo>
                      <a:pt x="773040" y="67198"/>
                      <a:pt x="591910" y="80154"/>
                      <a:pt x="472745" y="64008"/>
                    </a:cubicBezTo>
                    <a:cubicBezTo>
                      <a:pt x="353580" y="47862"/>
                      <a:pt x="211862" y="58946"/>
                      <a:pt x="0" y="64008"/>
                    </a:cubicBezTo>
                    <a:cubicBezTo>
                      <a:pt x="1102" y="49953"/>
                      <a:pt x="1211" y="2169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5822892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4" name="Rectangle 2">
                <a:extLst>
                  <a:ext uri="{FF2B5EF4-FFF2-40B4-BE49-F238E27FC236}">
                    <a16:creationId xmlns:a16="http://schemas.microsoft.com/office/drawing/2014/main" id="{4A496C7F-50BF-4212-A7B4-515578DB9A9C}"/>
                  </a:ext>
                </a:extLst>
              </p:cNvPr>
              <p:cNvSpPr/>
              <p:nvPr/>
            </p:nvSpPr>
            <p:spPr>
              <a:xfrm>
                <a:off x="-5305996" y="4260757"/>
                <a:ext cx="1634065" cy="64008"/>
              </a:xfrm>
              <a:custGeom>
                <a:avLst/>
                <a:gdLst>
                  <a:gd name="connsiteX0" fmla="*/ 0 w 1634065"/>
                  <a:gd name="connsiteY0" fmla="*/ 0 h 64008"/>
                  <a:gd name="connsiteX1" fmla="*/ 561029 w 1634065"/>
                  <a:gd name="connsiteY1" fmla="*/ 0 h 64008"/>
                  <a:gd name="connsiteX2" fmla="*/ 1056695 w 1634065"/>
                  <a:gd name="connsiteY2" fmla="*/ 0 h 64008"/>
                  <a:gd name="connsiteX3" fmla="*/ 1634065 w 1634065"/>
                  <a:gd name="connsiteY3" fmla="*/ 0 h 64008"/>
                  <a:gd name="connsiteX4" fmla="*/ 1634065 w 1634065"/>
                  <a:gd name="connsiteY4" fmla="*/ 64008 h 64008"/>
                  <a:gd name="connsiteX5" fmla="*/ 1122058 w 1634065"/>
                  <a:gd name="connsiteY5" fmla="*/ 64008 h 64008"/>
                  <a:gd name="connsiteX6" fmla="*/ 561029 w 1634065"/>
                  <a:gd name="connsiteY6" fmla="*/ 64008 h 64008"/>
                  <a:gd name="connsiteX7" fmla="*/ 0 w 1634065"/>
                  <a:gd name="connsiteY7" fmla="*/ 64008 h 64008"/>
                  <a:gd name="connsiteX8" fmla="*/ 0 w 1634065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4065" h="64008" fill="none" extrusionOk="0">
                    <a:moveTo>
                      <a:pt x="0" y="0"/>
                    </a:moveTo>
                    <a:cubicBezTo>
                      <a:pt x="132590" y="-20867"/>
                      <a:pt x="380697" y="21518"/>
                      <a:pt x="561029" y="0"/>
                    </a:cubicBezTo>
                    <a:cubicBezTo>
                      <a:pt x="741361" y="-21518"/>
                      <a:pt x="883536" y="-16576"/>
                      <a:pt x="1056695" y="0"/>
                    </a:cubicBezTo>
                    <a:cubicBezTo>
                      <a:pt x="1229854" y="16576"/>
                      <a:pt x="1466354" y="4510"/>
                      <a:pt x="1634065" y="0"/>
                    </a:cubicBezTo>
                    <a:cubicBezTo>
                      <a:pt x="1636450" y="21195"/>
                      <a:pt x="1632703" y="40259"/>
                      <a:pt x="1634065" y="64008"/>
                    </a:cubicBezTo>
                    <a:cubicBezTo>
                      <a:pt x="1493409" y="74232"/>
                      <a:pt x="1314789" y="70844"/>
                      <a:pt x="1122058" y="64008"/>
                    </a:cubicBezTo>
                    <a:cubicBezTo>
                      <a:pt x="929327" y="57172"/>
                      <a:pt x="734880" y="78083"/>
                      <a:pt x="561029" y="64008"/>
                    </a:cubicBezTo>
                    <a:cubicBezTo>
                      <a:pt x="387178" y="49933"/>
                      <a:pt x="158470" y="69006"/>
                      <a:pt x="0" y="64008"/>
                    </a:cubicBezTo>
                    <a:cubicBezTo>
                      <a:pt x="1392" y="38336"/>
                      <a:pt x="-2713" y="22734"/>
                      <a:pt x="0" y="0"/>
                    </a:cubicBezTo>
                    <a:close/>
                  </a:path>
                  <a:path w="1634065" h="64008" stroke="0" extrusionOk="0">
                    <a:moveTo>
                      <a:pt x="0" y="0"/>
                    </a:moveTo>
                    <a:cubicBezTo>
                      <a:pt x="206248" y="1855"/>
                      <a:pt x="278187" y="9867"/>
                      <a:pt x="512007" y="0"/>
                    </a:cubicBezTo>
                    <a:cubicBezTo>
                      <a:pt x="745827" y="-9867"/>
                      <a:pt x="769504" y="-12985"/>
                      <a:pt x="1024014" y="0"/>
                    </a:cubicBezTo>
                    <a:cubicBezTo>
                      <a:pt x="1278524" y="12985"/>
                      <a:pt x="1407752" y="22807"/>
                      <a:pt x="1634065" y="0"/>
                    </a:cubicBezTo>
                    <a:cubicBezTo>
                      <a:pt x="1636930" y="15624"/>
                      <a:pt x="1633267" y="49211"/>
                      <a:pt x="1634065" y="64008"/>
                    </a:cubicBezTo>
                    <a:cubicBezTo>
                      <a:pt x="1527123" y="58410"/>
                      <a:pt x="1275059" y="50371"/>
                      <a:pt x="1138399" y="64008"/>
                    </a:cubicBezTo>
                    <a:cubicBezTo>
                      <a:pt x="1001739" y="77645"/>
                      <a:pt x="676800" y="90432"/>
                      <a:pt x="561029" y="64008"/>
                    </a:cubicBezTo>
                    <a:cubicBezTo>
                      <a:pt x="445258" y="37585"/>
                      <a:pt x="134087" y="67795"/>
                      <a:pt x="0" y="64008"/>
                    </a:cubicBezTo>
                    <a:cubicBezTo>
                      <a:pt x="1855" y="44649"/>
                      <a:pt x="-615" y="2657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3705000160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5" name="Rectangle 1">
                <a:extLst>
                  <a:ext uri="{FF2B5EF4-FFF2-40B4-BE49-F238E27FC236}">
                    <a16:creationId xmlns:a16="http://schemas.microsoft.com/office/drawing/2014/main" id="{A1BBDD8E-7CB4-49CA-BEC0-8816EBA7B993}"/>
                  </a:ext>
                </a:extLst>
              </p:cNvPr>
              <p:cNvSpPr/>
              <p:nvPr/>
            </p:nvSpPr>
            <p:spPr>
              <a:xfrm>
                <a:off x="-5305996" y="4121050"/>
                <a:ext cx="1840040" cy="64008"/>
              </a:xfrm>
              <a:custGeom>
                <a:avLst/>
                <a:gdLst>
                  <a:gd name="connsiteX0" fmla="*/ 0 w 1840040"/>
                  <a:gd name="connsiteY0" fmla="*/ 0 h 64008"/>
                  <a:gd name="connsiteX1" fmla="*/ 650147 w 1840040"/>
                  <a:gd name="connsiteY1" fmla="*/ 0 h 64008"/>
                  <a:gd name="connsiteX2" fmla="*/ 1281895 w 1840040"/>
                  <a:gd name="connsiteY2" fmla="*/ 0 h 64008"/>
                  <a:gd name="connsiteX3" fmla="*/ 1840040 w 1840040"/>
                  <a:gd name="connsiteY3" fmla="*/ 0 h 64008"/>
                  <a:gd name="connsiteX4" fmla="*/ 1840040 w 1840040"/>
                  <a:gd name="connsiteY4" fmla="*/ 64008 h 64008"/>
                  <a:gd name="connsiteX5" fmla="*/ 1263494 w 1840040"/>
                  <a:gd name="connsiteY5" fmla="*/ 64008 h 64008"/>
                  <a:gd name="connsiteX6" fmla="*/ 650147 w 1840040"/>
                  <a:gd name="connsiteY6" fmla="*/ 64008 h 64008"/>
                  <a:gd name="connsiteX7" fmla="*/ 0 w 1840040"/>
                  <a:gd name="connsiteY7" fmla="*/ 64008 h 64008"/>
                  <a:gd name="connsiteX8" fmla="*/ 0 w 1840040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40040" h="64008" fill="none" extrusionOk="0">
                    <a:moveTo>
                      <a:pt x="0" y="0"/>
                    </a:moveTo>
                    <a:cubicBezTo>
                      <a:pt x="143956" y="-10632"/>
                      <a:pt x="413699" y="21744"/>
                      <a:pt x="650147" y="0"/>
                    </a:cubicBezTo>
                    <a:cubicBezTo>
                      <a:pt x="886595" y="-21744"/>
                      <a:pt x="1055891" y="18638"/>
                      <a:pt x="1281895" y="0"/>
                    </a:cubicBezTo>
                    <a:cubicBezTo>
                      <a:pt x="1507899" y="-18638"/>
                      <a:pt x="1621414" y="4350"/>
                      <a:pt x="1840040" y="0"/>
                    </a:cubicBezTo>
                    <a:cubicBezTo>
                      <a:pt x="1841895" y="24039"/>
                      <a:pt x="1837183" y="34789"/>
                      <a:pt x="1840040" y="64008"/>
                    </a:cubicBezTo>
                    <a:cubicBezTo>
                      <a:pt x="1718558" y="46261"/>
                      <a:pt x="1514973" y="92581"/>
                      <a:pt x="1263494" y="64008"/>
                    </a:cubicBezTo>
                    <a:cubicBezTo>
                      <a:pt x="1012015" y="35435"/>
                      <a:pt x="779919" y="76605"/>
                      <a:pt x="650147" y="64008"/>
                    </a:cubicBezTo>
                    <a:cubicBezTo>
                      <a:pt x="520375" y="51411"/>
                      <a:pt x="291716" y="93516"/>
                      <a:pt x="0" y="64008"/>
                    </a:cubicBezTo>
                    <a:cubicBezTo>
                      <a:pt x="-198" y="49034"/>
                      <a:pt x="2081" y="27156"/>
                      <a:pt x="0" y="0"/>
                    </a:cubicBezTo>
                    <a:close/>
                  </a:path>
                  <a:path w="1840040" h="64008" stroke="0" extrusionOk="0">
                    <a:moveTo>
                      <a:pt x="0" y="0"/>
                    </a:moveTo>
                    <a:cubicBezTo>
                      <a:pt x="258882" y="-17833"/>
                      <a:pt x="321803" y="-1685"/>
                      <a:pt x="594946" y="0"/>
                    </a:cubicBezTo>
                    <a:cubicBezTo>
                      <a:pt x="868089" y="1685"/>
                      <a:pt x="1030210" y="-5822"/>
                      <a:pt x="1153092" y="0"/>
                    </a:cubicBezTo>
                    <a:cubicBezTo>
                      <a:pt x="1275974" y="5822"/>
                      <a:pt x="1615700" y="29058"/>
                      <a:pt x="1840040" y="0"/>
                    </a:cubicBezTo>
                    <a:cubicBezTo>
                      <a:pt x="1842763" y="30415"/>
                      <a:pt x="1841376" y="39495"/>
                      <a:pt x="1840040" y="64008"/>
                    </a:cubicBezTo>
                    <a:cubicBezTo>
                      <a:pt x="1701096" y="68152"/>
                      <a:pt x="1425816" y="46205"/>
                      <a:pt x="1263494" y="64008"/>
                    </a:cubicBezTo>
                    <a:cubicBezTo>
                      <a:pt x="1101172" y="81811"/>
                      <a:pt x="800613" y="86701"/>
                      <a:pt x="613347" y="64008"/>
                    </a:cubicBezTo>
                    <a:cubicBezTo>
                      <a:pt x="426081" y="41315"/>
                      <a:pt x="197473" y="72383"/>
                      <a:pt x="0" y="64008"/>
                    </a:cubicBezTo>
                    <a:cubicBezTo>
                      <a:pt x="-1100" y="40362"/>
                      <a:pt x="117" y="2191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08" name="Paragraph Placeholder Lines 1" descr="Left aligned paragraph placeholder, shown as lines">
            <a:extLst>
              <a:ext uri="{FF2B5EF4-FFF2-40B4-BE49-F238E27FC236}">
                <a16:creationId xmlns:a16="http://schemas.microsoft.com/office/drawing/2014/main" id="{D7519FC5-B3B9-4502-A77A-067F5A5A2A9D}"/>
              </a:ext>
            </a:extLst>
          </p:cNvPr>
          <p:cNvGrpSpPr/>
          <p:nvPr/>
        </p:nvGrpSpPr>
        <p:grpSpPr>
          <a:xfrm>
            <a:off x="7516712" y="1787871"/>
            <a:ext cx="1228382" cy="1435898"/>
            <a:chOff x="11804446" y="1576262"/>
            <a:chExt cx="1228382" cy="1435898"/>
          </a:xfrm>
        </p:grpSpPr>
        <p:grpSp>
          <p:nvGrpSpPr>
            <p:cNvPr id="309" name="Placeholder Lines 1">
              <a:extLst>
                <a:ext uri="{FF2B5EF4-FFF2-40B4-BE49-F238E27FC236}">
                  <a16:creationId xmlns:a16="http://schemas.microsoft.com/office/drawing/2014/main" id="{55D5D049-319E-42DA-B68E-11F8AE41724E}"/>
                </a:ext>
              </a:extLst>
            </p:cNvPr>
            <p:cNvGrpSpPr/>
            <p:nvPr/>
          </p:nvGrpSpPr>
          <p:grpSpPr>
            <a:xfrm>
              <a:off x="11804446" y="1576262"/>
              <a:ext cx="1228382" cy="622836"/>
              <a:chOff x="-5326399" y="1380314"/>
              <a:chExt cx="1228382" cy="622836"/>
            </a:xfrm>
          </p:grpSpPr>
          <p:sp>
            <p:nvSpPr>
              <p:cNvPr id="316" name="Rectangle 5">
                <a:extLst>
                  <a:ext uri="{FF2B5EF4-FFF2-40B4-BE49-F238E27FC236}">
                    <a16:creationId xmlns:a16="http://schemas.microsoft.com/office/drawing/2014/main" id="{E6ED28AD-3B58-4076-A08F-9495F12D3D30}"/>
                  </a:ext>
                </a:extLst>
              </p:cNvPr>
              <p:cNvSpPr/>
              <p:nvPr/>
            </p:nvSpPr>
            <p:spPr>
              <a:xfrm>
                <a:off x="-5326398" y="1939142"/>
                <a:ext cx="1228381" cy="64008"/>
              </a:xfrm>
              <a:custGeom>
                <a:avLst/>
                <a:gdLst>
                  <a:gd name="connsiteX0" fmla="*/ 0 w 1228381"/>
                  <a:gd name="connsiteY0" fmla="*/ 0 h 64008"/>
                  <a:gd name="connsiteX1" fmla="*/ 614191 w 1228381"/>
                  <a:gd name="connsiteY1" fmla="*/ 0 h 64008"/>
                  <a:gd name="connsiteX2" fmla="*/ 1228381 w 1228381"/>
                  <a:gd name="connsiteY2" fmla="*/ 0 h 64008"/>
                  <a:gd name="connsiteX3" fmla="*/ 1228381 w 1228381"/>
                  <a:gd name="connsiteY3" fmla="*/ 64008 h 64008"/>
                  <a:gd name="connsiteX4" fmla="*/ 589623 w 1228381"/>
                  <a:gd name="connsiteY4" fmla="*/ 64008 h 64008"/>
                  <a:gd name="connsiteX5" fmla="*/ 0 w 1228381"/>
                  <a:gd name="connsiteY5" fmla="*/ 64008 h 64008"/>
                  <a:gd name="connsiteX6" fmla="*/ 0 w 1228381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8381" h="64008" fill="none" extrusionOk="0">
                    <a:moveTo>
                      <a:pt x="0" y="0"/>
                    </a:moveTo>
                    <a:cubicBezTo>
                      <a:pt x="165142" y="-26428"/>
                      <a:pt x="313313" y="-27854"/>
                      <a:pt x="614191" y="0"/>
                    </a:cubicBezTo>
                    <a:cubicBezTo>
                      <a:pt x="915069" y="27854"/>
                      <a:pt x="997070" y="-23687"/>
                      <a:pt x="1228381" y="0"/>
                    </a:cubicBezTo>
                    <a:cubicBezTo>
                      <a:pt x="1231048" y="27787"/>
                      <a:pt x="1228947" y="42632"/>
                      <a:pt x="1228381" y="64008"/>
                    </a:cubicBezTo>
                    <a:cubicBezTo>
                      <a:pt x="922052" y="77269"/>
                      <a:pt x="869818" y="72455"/>
                      <a:pt x="589623" y="64008"/>
                    </a:cubicBezTo>
                    <a:cubicBezTo>
                      <a:pt x="309428" y="55561"/>
                      <a:pt x="127275" y="82096"/>
                      <a:pt x="0" y="64008"/>
                    </a:cubicBezTo>
                    <a:cubicBezTo>
                      <a:pt x="279" y="44606"/>
                      <a:pt x="-934" y="25820"/>
                      <a:pt x="0" y="0"/>
                    </a:cubicBezTo>
                    <a:close/>
                  </a:path>
                  <a:path w="1228381" h="64008" stroke="0" extrusionOk="0">
                    <a:moveTo>
                      <a:pt x="0" y="0"/>
                    </a:moveTo>
                    <a:cubicBezTo>
                      <a:pt x="167411" y="-22089"/>
                      <a:pt x="426488" y="1143"/>
                      <a:pt x="626474" y="0"/>
                    </a:cubicBezTo>
                    <a:cubicBezTo>
                      <a:pt x="826460" y="-1143"/>
                      <a:pt x="959873" y="19830"/>
                      <a:pt x="1228381" y="0"/>
                    </a:cubicBezTo>
                    <a:cubicBezTo>
                      <a:pt x="1225713" y="24987"/>
                      <a:pt x="1227770" y="51127"/>
                      <a:pt x="1228381" y="64008"/>
                    </a:cubicBezTo>
                    <a:cubicBezTo>
                      <a:pt x="964899" y="41709"/>
                      <a:pt x="898730" y="60030"/>
                      <a:pt x="589623" y="64008"/>
                    </a:cubicBezTo>
                    <a:cubicBezTo>
                      <a:pt x="280516" y="67986"/>
                      <a:pt x="166407" y="35384"/>
                      <a:pt x="0" y="64008"/>
                    </a:cubicBezTo>
                    <a:cubicBezTo>
                      <a:pt x="-1646" y="44721"/>
                      <a:pt x="1257" y="1677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96747104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7" name="Rectangle 4">
                <a:extLst>
                  <a:ext uri="{FF2B5EF4-FFF2-40B4-BE49-F238E27FC236}">
                    <a16:creationId xmlns:a16="http://schemas.microsoft.com/office/drawing/2014/main" id="{D9B9666F-8FF4-462A-9EA4-E405C511A1A6}"/>
                  </a:ext>
                </a:extLst>
              </p:cNvPr>
              <p:cNvSpPr/>
              <p:nvPr/>
            </p:nvSpPr>
            <p:spPr>
              <a:xfrm>
                <a:off x="-5326398" y="1799435"/>
                <a:ext cx="1156123" cy="64008"/>
              </a:xfrm>
              <a:custGeom>
                <a:avLst/>
                <a:gdLst>
                  <a:gd name="connsiteX0" fmla="*/ 0 w 1156123"/>
                  <a:gd name="connsiteY0" fmla="*/ 0 h 64008"/>
                  <a:gd name="connsiteX1" fmla="*/ 601184 w 1156123"/>
                  <a:gd name="connsiteY1" fmla="*/ 0 h 64008"/>
                  <a:gd name="connsiteX2" fmla="*/ 1156123 w 1156123"/>
                  <a:gd name="connsiteY2" fmla="*/ 0 h 64008"/>
                  <a:gd name="connsiteX3" fmla="*/ 1156123 w 1156123"/>
                  <a:gd name="connsiteY3" fmla="*/ 64008 h 64008"/>
                  <a:gd name="connsiteX4" fmla="*/ 566500 w 1156123"/>
                  <a:gd name="connsiteY4" fmla="*/ 64008 h 64008"/>
                  <a:gd name="connsiteX5" fmla="*/ 0 w 1156123"/>
                  <a:gd name="connsiteY5" fmla="*/ 64008 h 64008"/>
                  <a:gd name="connsiteX6" fmla="*/ 0 w 1156123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56123" h="64008" fill="none" extrusionOk="0">
                    <a:moveTo>
                      <a:pt x="0" y="0"/>
                    </a:moveTo>
                    <a:cubicBezTo>
                      <a:pt x="138334" y="-18225"/>
                      <a:pt x="313638" y="20190"/>
                      <a:pt x="601184" y="0"/>
                    </a:cubicBezTo>
                    <a:cubicBezTo>
                      <a:pt x="888730" y="-20190"/>
                      <a:pt x="1032926" y="14422"/>
                      <a:pt x="1156123" y="0"/>
                    </a:cubicBezTo>
                    <a:cubicBezTo>
                      <a:pt x="1157324" y="16741"/>
                      <a:pt x="1153679" y="41845"/>
                      <a:pt x="1156123" y="64008"/>
                    </a:cubicBezTo>
                    <a:cubicBezTo>
                      <a:pt x="916827" y="39633"/>
                      <a:pt x="766170" y="43302"/>
                      <a:pt x="566500" y="64008"/>
                    </a:cubicBezTo>
                    <a:cubicBezTo>
                      <a:pt x="366830" y="84714"/>
                      <a:pt x="154499" y="76833"/>
                      <a:pt x="0" y="64008"/>
                    </a:cubicBezTo>
                    <a:cubicBezTo>
                      <a:pt x="1422" y="39840"/>
                      <a:pt x="2711" y="23338"/>
                      <a:pt x="0" y="0"/>
                    </a:cubicBezTo>
                    <a:close/>
                  </a:path>
                  <a:path w="1156123" h="64008" stroke="0" extrusionOk="0">
                    <a:moveTo>
                      <a:pt x="0" y="0"/>
                    </a:moveTo>
                    <a:cubicBezTo>
                      <a:pt x="166219" y="-22033"/>
                      <a:pt x="353438" y="27318"/>
                      <a:pt x="554939" y="0"/>
                    </a:cubicBezTo>
                    <a:cubicBezTo>
                      <a:pt x="756440" y="-27318"/>
                      <a:pt x="952613" y="-20057"/>
                      <a:pt x="1156123" y="0"/>
                    </a:cubicBezTo>
                    <a:cubicBezTo>
                      <a:pt x="1155374" y="20271"/>
                      <a:pt x="1158168" y="49605"/>
                      <a:pt x="1156123" y="64008"/>
                    </a:cubicBezTo>
                    <a:cubicBezTo>
                      <a:pt x="901980" y="83371"/>
                      <a:pt x="716074" y="68995"/>
                      <a:pt x="566500" y="64008"/>
                    </a:cubicBezTo>
                    <a:cubicBezTo>
                      <a:pt x="416926" y="59021"/>
                      <a:pt x="195891" y="79443"/>
                      <a:pt x="0" y="64008"/>
                    </a:cubicBezTo>
                    <a:cubicBezTo>
                      <a:pt x="2854" y="41256"/>
                      <a:pt x="2167" y="1843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346402959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8" name="Rectangle 3">
                <a:extLst>
                  <a:ext uri="{FF2B5EF4-FFF2-40B4-BE49-F238E27FC236}">
                    <a16:creationId xmlns:a16="http://schemas.microsoft.com/office/drawing/2014/main" id="{246BFB1A-EF67-49ED-A6E1-A40BC32FE1C9}"/>
                  </a:ext>
                </a:extLst>
              </p:cNvPr>
              <p:cNvSpPr/>
              <p:nvPr/>
            </p:nvSpPr>
            <p:spPr>
              <a:xfrm>
                <a:off x="-5326399" y="1659728"/>
                <a:ext cx="932688" cy="64008"/>
              </a:xfrm>
              <a:custGeom>
                <a:avLst/>
                <a:gdLst>
                  <a:gd name="connsiteX0" fmla="*/ 0 w 932688"/>
                  <a:gd name="connsiteY0" fmla="*/ 0 h 64008"/>
                  <a:gd name="connsiteX1" fmla="*/ 475671 w 932688"/>
                  <a:gd name="connsiteY1" fmla="*/ 0 h 64008"/>
                  <a:gd name="connsiteX2" fmla="*/ 932688 w 932688"/>
                  <a:gd name="connsiteY2" fmla="*/ 0 h 64008"/>
                  <a:gd name="connsiteX3" fmla="*/ 932688 w 932688"/>
                  <a:gd name="connsiteY3" fmla="*/ 64008 h 64008"/>
                  <a:gd name="connsiteX4" fmla="*/ 447690 w 932688"/>
                  <a:gd name="connsiteY4" fmla="*/ 64008 h 64008"/>
                  <a:gd name="connsiteX5" fmla="*/ 0 w 932688"/>
                  <a:gd name="connsiteY5" fmla="*/ 64008 h 64008"/>
                  <a:gd name="connsiteX6" fmla="*/ 0 w 932688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2688" h="64008" fill="none" extrusionOk="0">
                    <a:moveTo>
                      <a:pt x="0" y="0"/>
                    </a:moveTo>
                    <a:cubicBezTo>
                      <a:pt x="109317" y="3578"/>
                      <a:pt x="347583" y="22913"/>
                      <a:pt x="475671" y="0"/>
                    </a:cubicBezTo>
                    <a:cubicBezTo>
                      <a:pt x="603759" y="-22913"/>
                      <a:pt x="760272" y="8236"/>
                      <a:pt x="932688" y="0"/>
                    </a:cubicBezTo>
                    <a:cubicBezTo>
                      <a:pt x="932471" y="28692"/>
                      <a:pt x="934511" y="49533"/>
                      <a:pt x="932688" y="64008"/>
                    </a:cubicBezTo>
                    <a:cubicBezTo>
                      <a:pt x="735398" y="61622"/>
                      <a:pt x="633287" y="49920"/>
                      <a:pt x="447690" y="64008"/>
                    </a:cubicBezTo>
                    <a:cubicBezTo>
                      <a:pt x="262093" y="78096"/>
                      <a:pt x="98017" y="51756"/>
                      <a:pt x="0" y="64008"/>
                    </a:cubicBezTo>
                    <a:cubicBezTo>
                      <a:pt x="-1284" y="37907"/>
                      <a:pt x="510" y="23488"/>
                      <a:pt x="0" y="0"/>
                    </a:cubicBezTo>
                    <a:close/>
                  </a:path>
                  <a:path w="932688" h="64008" stroke="0" extrusionOk="0">
                    <a:moveTo>
                      <a:pt x="0" y="0"/>
                    </a:moveTo>
                    <a:cubicBezTo>
                      <a:pt x="200156" y="19546"/>
                      <a:pt x="294544" y="-7345"/>
                      <a:pt x="447690" y="0"/>
                    </a:cubicBezTo>
                    <a:cubicBezTo>
                      <a:pt x="600836" y="7345"/>
                      <a:pt x="738317" y="18659"/>
                      <a:pt x="932688" y="0"/>
                    </a:cubicBezTo>
                    <a:cubicBezTo>
                      <a:pt x="930798" y="18002"/>
                      <a:pt x="934551" y="37102"/>
                      <a:pt x="932688" y="64008"/>
                    </a:cubicBezTo>
                    <a:cubicBezTo>
                      <a:pt x="742216" y="82812"/>
                      <a:pt x="616855" y="63230"/>
                      <a:pt x="457017" y="64008"/>
                    </a:cubicBezTo>
                    <a:cubicBezTo>
                      <a:pt x="297179" y="64786"/>
                      <a:pt x="180098" y="47449"/>
                      <a:pt x="0" y="64008"/>
                    </a:cubicBezTo>
                    <a:cubicBezTo>
                      <a:pt x="-80" y="37080"/>
                      <a:pt x="3083" y="1478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5822892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9" name="Rectangle 2">
                <a:extLst>
                  <a:ext uri="{FF2B5EF4-FFF2-40B4-BE49-F238E27FC236}">
                    <a16:creationId xmlns:a16="http://schemas.microsoft.com/office/drawing/2014/main" id="{BA09B6C1-5E6A-4DE8-9D0C-883AC2A26211}"/>
                  </a:ext>
                </a:extLst>
              </p:cNvPr>
              <p:cNvSpPr/>
              <p:nvPr/>
            </p:nvSpPr>
            <p:spPr>
              <a:xfrm>
                <a:off x="-5326398" y="1520021"/>
                <a:ext cx="1011608" cy="64008"/>
              </a:xfrm>
              <a:custGeom>
                <a:avLst/>
                <a:gdLst>
                  <a:gd name="connsiteX0" fmla="*/ 0 w 1011608"/>
                  <a:gd name="connsiteY0" fmla="*/ 0 h 64008"/>
                  <a:gd name="connsiteX1" fmla="*/ 475456 w 1011608"/>
                  <a:gd name="connsiteY1" fmla="*/ 0 h 64008"/>
                  <a:gd name="connsiteX2" fmla="*/ 1011608 w 1011608"/>
                  <a:gd name="connsiteY2" fmla="*/ 0 h 64008"/>
                  <a:gd name="connsiteX3" fmla="*/ 1011608 w 1011608"/>
                  <a:gd name="connsiteY3" fmla="*/ 64008 h 64008"/>
                  <a:gd name="connsiteX4" fmla="*/ 495688 w 1011608"/>
                  <a:gd name="connsiteY4" fmla="*/ 64008 h 64008"/>
                  <a:gd name="connsiteX5" fmla="*/ 0 w 1011608"/>
                  <a:gd name="connsiteY5" fmla="*/ 64008 h 64008"/>
                  <a:gd name="connsiteX6" fmla="*/ 0 w 1011608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1608" h="64008" fill="none" extrusionOk="0">
                    <a:moveTo>
                      <a:pt x="0" y="0"/>
                    </a:moveTo>
                    <a:cubicBezTo>
                      <a:pt x="197554" y="-21691"/>
                      <a:pt x="380014" y="-11599"/>
                      <a:pt x="475456" y="0"/>
                    </a:cubicBezTo>
                    <a:cubicBezTo>
                      <a:pt x="570898" y="11599"/>
                      <a:pt x="782937" y="-5214"/>
                      <a:pt x="1011608" y="0"/>
                    </a:cubicBezTo>
                    <a:cubicBezTo>
                      <a:pt x="1011841" y="15641"/>
                      <a:pt x="1009721" y="34909"/>
                      <a:pt x="1011608" y="64008"/>
                    </a:cubicBezTo>
                    <a:cubicBezTo>
                      <a:pt x="779116" y="85202"/>
                      <a:pt x="615303" y="78058"/>
                      <a:pt x="495688" y="64008"/>
                    </a:cubicBezTo>
                    <a:cubicBezTo>
                      <a:pt x="376073" y="49958"/>
                      <a:pt x="140136" y="47640"/>
                      <a:pt x="0" y="64008"/>
                    </a:cubicBezTo>
                    <a:cubicBezTo>
                      <a:pt x="3173" y="46995"/>
                      <a:pt x="-2625" y="25867"/>
                      <a:pt x="0" y="0"/>
                    </a:cubicBezTo>
                    <a:close/>
                  </a:path>
                  <a:path w="1011608" h="64008" stroke="0" extrusionOk="0">
                    <a:moveTo>
                      <a:pt x="0" y="0"/>
                    </a:moveTo>
                    <a:cubicBezTo>
                      <a:pt x="187624" y="-17970"/>
                      <a:pt x="388346" y="13916"/>
                      <a:pt x="485572" y="0"/>
                    </a:cubicBezTo>
                    <a:cubicBezTo>
                      <a:pt x="582798" y="-13916"/>
                      <a:pt x="756689" y="9945"/>
                      <a:pt x="1011608" y="0"/>
                    </a:cubicBezTo>
                    <a:cubicBezTo>
                      <a:pt x="1009361" y="30074"/>
                      <a:pt x="1012688" y="42635"/>
                      <a:pt x="1011608" y="64008"/>
                    </a:cubicBezTo>
                    <a:cubicBezTo>
                      <a:pt x="854532" y="57458"/>
                      <a:pt x="733233" y="54927"/>
                      <a:pt x="505804" y="64008"/>
                    </a:cubicBezTo>
                    <a:cubicBezTo>
                      <a:pt x="278375" y="73089"/>
                      <a:pt x="130855" y="42822"/>
                      <a:pt x="0" y="64008"/>
                    </a:cubicBezTo>
                    <a:cubicBezTo>
                      <a:pt x="-3178" y="36820"/>
                      <a:pt x="-2722" y="28161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3705000160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1">
                <a:extLst>
                  <a:ext uri="{FF2B5EF4-FFF2-40B4-BE49-F238E27FC236}">
                    <a16:creationId xmlns:a16="http://schemas.microsoft.com/office/drawing/2014/main" id="{21BFDDCD-77A9-4C4D-9A25-99B7EBE84EF0}"/>
                  </a:ext>
                </a:extLst>
              </p:cNvPr>
              <p:cNvSpPr/>
              <p:nvPr/>
            </p:nvSpPr>
            <p:spPr>
              <a:xfrm>
                <a:off x="-5326398" y="1380314"/>
                <a:ext cx="869092" cy="64008"/>
              </a:xfrm>
              <a:custGeom>
                <a:avLst/>
                <a:gdLst>
                  <a:gd name="connsiteX0" fmla="*/ 0 w 869092"/>
                  <a:gd name="connsiteY0" fmla="*/ 0 h 64008"/>
                  <a:gd name="connsiteX1" fmla="*/ 451928 w 869092"/>
                  <a:gd name="connsiteY1" fmla="*/ 0 h 64008"/>
                  <a:gd name="connsiteX2" fmla="*/ 869092 w 869092"/>
                  <a:gd name="connsiteY2" fmla="*/ 0 h 64008"/>
                  <a:gd name="connsiteX3" fmla="*/ 869092 w 869092"/>
                  <a:gd name="connsiteY3" fmla="*/ 64008 h 64008"/>
                  <a:gd name="connsiteX4" fmla="*/ 443237 w 869092"/>
                  <a:gd name="connsiteY4" fmla="*/ 64008 h 64008"/>
                  <a:gd name="connsiteX5" fmla="*/ 0 w 869092"/>
                  <a:gd name="connsiteY5" fmla="*/ 64008 h 64008"/>
                  <a:gd name="connsiteX6" fmla="*/ 0 w 869092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9092" h="64008" fill="none" extrusionOk="0">
                    <a:moveTo>
                      <a:pt x="0" y="0"/>
                    </a:moveTo>
                    <a:cubicBezTo>
                      <a:pt x="109012" y="18379"/>
                      <a:pt x="348535" y="-18141"/>
                      <a:pt x="451928" y="0"/>
                    </a:cubicBezTo>
                    <a:cubicBezTo>
                      <a:pt x="555321" y="18141"/>
                      <a:pt x="748048" y="-6654"/>
                      <a:pt x="869092" y="0"/>
                    </a:cubicBezTo>
                    <a:cubicBezTo>
                      <a:pt x="872239" y="21123"/>
                      <a:pt x="867620" y="35558"/>
                      <a:pt x="869092" y="64008"/>
                    </a:cubicBezTo>
                    <a:cubicBezTo>
                      <a:pt x="682938" y="74288"/>
                      <a:pt x="584473" y="51890"/>
                      <a:pt x="443237" y="64008"/>
                    </a:cubicBezTo>
                    <a:cubicBezTo>
                      <a:pt x="302002" y="76126"/>
                      <a:pt x="150286" y="50849"/>
                      <a:pt x="0" y="64008"/>
                    </a:cubicBezTo>
                    <a:cubicBezTo>
                      <a:pt x="-2411" y="33843"/>
                      <a:pt x="1447" y="23221"/>
                      <a:pt x="0" y="0"/>
                    </a:cubicBezTo>
                    <a:close/>
                  </a:path>
                  <a:path w="869092" h="64008" stroke="0" extrusionOk="0">
                    <a:moveTo>
                      <a:pt x="0" y="0"/>
                    </a:moveTo>
                    <a:cubicBezTo>
                      <a:pt x="154071" y="-18764"/>
                      <a:pt x="254687" y="20448"/>
                      <a:pt x="425855" y="0"/>
                    </a:cubicBezTo>
                    <a:cubicBezTo>
                      <a:pt x="597023" y="-20448"/>
                      <a:pt x="739597" y="3820"/>
                      <a:pt x="869092" y="0"/>
                    </a:cubicBezTo>
                    <a:cubicBezTo>
                      <a:pt x="870588" y="25188"/>
                      <a:pt x="869529" y="50929"/>
                      <a:pt x="869092" y="64008"/>
                    </a:cubicBezTo>
                    <a:cubicBezTo>
                      <a:pt x="728868" y="65134"/>
                      <a:pt x="620845" y="85554"/>
                      <a:pt x="434546" y="64008"/>
                    </a:cubicBezTo>
                    <a:cubicBezTo>
                      <a:pt x="248247" y="42462"/>
                      <a:pt x="134031" y="80743"/>
                      <a:pt x="0" y="64008"/>
                    </a:cubicBezTo>
                    <a:cubicBezTo>
                      <a:pt x="-2503" y="44586"/>
                      <a:pt x="3172" y="2066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10" name="Placeholder Lines 2">
              <a:extLst>
                <a:ext uri="{FF2B5EF4-FFF2-40B4-BE49-F238E27FC236}">
                  <a16:creationId xmlns:a16="http://schemas.microsoft.com/office/drawing/2014/main" id="{5DFBAD5C-C012-444B-AA5F-6759B421C090}"/>
                </a:ext>
              </a:extLst>
            </p:cNvPr>
            <p:cNvGrpSpPr/>
            <p:nvPr/>
          </p:nvGrpSpPr>
          <p:grpSpPr>
            <a:xfrm>
              <a:off x="11807530" y="2389324"/>
              <a:ext cx="1225297" cy="622836"/>
              <a:chOff x="-5323315" y="2193376"/>
              <a:chExt cx="1225297" cy="622836"/>
            </a:xfrm>
          </p:grpSpPr>
          <p:sp>
            <p:nvSpPr>
              <p:cNvPr id="311" name="Rectangle 5">
                <a:extLst>
                  <a:ext uri="{FF2B5EF4-FFF2-40B4-BE49-F238E27FC236}">
                    <a16:creationId xmlns:a16="http://schemas.microsoft.com/office/drawing/2014/main" id="{5BCB2ADE-27E6-40DE-B87B-FA7A4F920D2C}"/>
                  </a:ext>
                </a:extLst>
              </p:cNvPr>
              <p:cNvSpPr/>
              <p:nvPr/>
            </p:nvSpPr>
            <p:spPr>
              <a:xfrm>
                <a:off x="-5323315" y="2752204"/>
                <a:ext cx="1106424" cy="64008"/>
              </a:xfrm>
              <a:custGeom>
                <a:avLst/>
                <a:gdLst>
                  <a:gd name="connsiteX0" fmla="*/ 0 w 1106424"/>
                  <a:gd name="connsiteY0" fmla="*/ 0 h 64008"/>
                  <a:gd name="connsiteX1" fmla="*/ 553212 w 1106424"/>
                  <a:gd name="connsiteY1" fmla="*/ 0 h 64008"/>
                  <a:gd name="connsiteX2" fmla="*/ 1106424 w 1106424"/>
                  <a:gd name="connsiteY2" fmla="*/ 0 h 64008"/>
                  <a:gd name="connsiteX3" fmla="*/ 1106424 w 1106424"/>
                  <a:gd name="connsiteY3" fmla="*/ 64008 h 64008"/>
                  <a:gd name="connsiteX4" fmla="*/ 531084 w 1106424"/>
                  <a:gd name="connsiteY4" fmla="*/ 64008 h 64008"/>
                  <a:gd name="connsiteX5" fmla="*/ 0 w 1106424"/>
                  <a:gd name="connsiteY5" fmla="*/ 64008 h 64008"/>
                  <a:gd name="connsiteX6" fmla="*/ 0 w 1106424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6424" h="64008" fill="none" extrusionOk="0">
                    <a:moveTo>
                      <a:pt x="0" y="0"/>
                    </a:moveTo>
                    <a:cubicBezTo>
                      <a:pt x="116782" y="-2360"/>
                      <a:pt x="392804" y="-24225"/>
                      <a:pt x="553212" y="0"/>
                    </a:cubicBezTo>
                    <a:cubicBezTo>
                      <a:pt x="713620" y="24225"/>
                      <a:pt x="841149" y="-5124"/>
                      <a:pt x="1106424" y="0"/>
                    </a:cubicBezTo>
                    <a:cubicBezTo>
                      <a:pt x="1109091" y="27787"/>
                      <a:pt x="1106990" y="42632"/>
                      <a:pt x="1106424" y="64008"/>
                    </a:cubicBezTo>
                    <a:cubicBezTo>
                      <a:pt x="829302" y="58422"/>
                      <a:pt x="768838" y="56499"/>
                      <a:pt x="531084" y="64008"/>
                    </a:cubicBezTo>
                    <a:cubicBezTo>
                      <a:pt x="293330" y="71517"/>
                      <a:pt x="238722" y="86856"/>
                      <a:pt x="0" y="64008"/>
                    </a:cubicBezTo>
                    <a:cubicBezTo>
                      <a:pt x="279" y="44606"/>
                      <a:pt x="-934" y="25820"/>
                      <a:pt x="0" y="0"/>
                    </a:cubicBezTo>
                    <a:close/>
                  </a:path>
                  <a:path w="1106424" h="64008" stroke="0" extrusionOk="0">
                    <a:moveTo>
                      <a:pt x="0" y="0"/>
                    </a:moveTo>
                    <a:cubicBezTo>
                      <a:pt x="142556" y="-8611"/>
                      <a:pt x="402295" y="15910"/>
                      <a:pt x="564276" y="0"/>
                    </a:cubicBezTo>
                    <a:cubicBezTo>
                      <a:pt x="726257" y="-15910"/>
                      <a:pt x="936317" y="25246"/>
                      <a:pt x="1106424" y="0"/>
                    </a:cubicBezTo>
                    <a:cubicBezTo>
                      <a:pt x="1103756" y="24987"/>
                      <a:pt x="1105813" y="51127"/>
                      <a:pt x="1106424" y="64008"/>
                    </a:cubicBezTo>
                    <a:cubicBezTo>
                      <a:pt x="921026" y="59409"/>
                      <a:pt x="778508" y="53483"/>
                      <a:pt x="531084" y="64008"/>
                    </a:cubicBezTo>
                    <a:cubicBezTo>
                      <a:pt x="283660" y="74533"/>
                      <a:pt x="231277" y="78209"/>
                      <a:pt x="0" y="64008"/>
                    </a:cubicBezTo>
                    <a:cubicBezTo>
                      <a:pt x="-1646" y="44721"/>
                      <a:pt x="1257" y="1677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96747104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2" name="Rectangle 4">
                <a:extLst>
                  <a:ext uri="{FF2B5EF4-FFF2-40B4-BE49-F238E27FC236}">
                    <a16:creationId xmlns:a16="http://schemas.microsoft.com/office/drawing/2014/main" id="{7B3AB053-99A2-4FC4-AB19-808A98731FBE}"/>
                  </a:ext>
                </a:extLst>
              </p:cNvPr>
              <p:cNvSpPr/>
              <p:nvPr/>
            </p:nvSpPr>
            <p:spPr>
              <a:xfrm>
                <a:off x="-5323315" y="2612497"/>
                <a:ext cx="1225296" cy="64008"/>
              </a:xfrm>
              <a:custGeom>
                <a:avLst/>
                <a:gdLst>
                  <a:gd name="connsiteX0" fmla="*/ 0 w 1225296"/>
                  <a:gd name="connsiteY0" fmla="*/ 0 h 64008"/>
                  <a:gd name="connsiteX1" fmla="*/ 637154 w 1225296"/>
                  <a:gd name="connsiteY1" fmla="*/ 0 h 64008"/>
                  <a:gd name="connsiteX2" fmla="*/ 1225296 w 1225296"/>
                  <a:gd name="connsiteY2" fmla="*/ 0 h 64008"/>
                  <a:gd name="connsiteX3" fmla="*/ 1225296 w 1225296"/>
                  <a:gd name="connsiteY3" fmla="*/ 64008 h 64008"/>
                  <a:gd name="connsiteX4" fmla="*/ 600395 w 1225296"/>
                  <a:gd name="connsiteY4" fmla="*/ 64008 h 64008"/>
                  <a:gd name="connsiteX5" fmla="*/ 0 w 1225296"/>
                  <a:gd name="connsiteY5" fmla="*/ 64008 h 64008"/>
                  <a:gd name="connsiteX6" fmla="*/ 0 w 1225296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5296" h="64008" fill="none" extrusionOk="0">
                    <a:moveTo>
                      <a:pt x="0" y="0"/>
                    </a:moveTo>
                    <a:cubicBezTo>
                      <a:pt x="305428" y="-13232"/>
                      <a:pt x="435245" y="-12098"/>
                      <a:pt x="637154" y="0"/>
                    </a:cubicBezTo>
                    <a:cubicBezTo>
                      <a:pt x="839063" y="12098"/>
                      <a:pt x="1005300" y="24296"/>
                      <a:pt x="1225296" y="0"/>
                    </a:cubicBezTo>
                    <a:cubicBezTo>
                      <a:pt x="1226497" y="16741"/>
                      <a:pt x="1222852" y="41845"/>
                      <a:pt x="1225296" y="64008"/>
                    </a:cubicBezTo>
                    <a:cubicBezTo>
                      <a:pt x="1081390" y="84208"/>
                      <a:pt x="861543" y="45521"/>
                      <a:pt x="600395" y="64008"/>
                    </a:cubicBezTo>
                    <a:cubicBezTo>
                      <a:pt x="339247" y="82495"/>
                      <a:pt x="172079" y="74479"/>
                      <a:pt x="0" y="64008"/>
                    </a:cubicBezTo>
                    <a:cubicBezTo>
                      <a:pt x="1422" y="39840"/>
                      <a:pt x="2711" y="23338"/>
                      <a:pt x="0" y="0"/>
                    </a:cubicBezTo>
                    <a:close/>
                  </a:path>
                  <a:path w="1225296" h="64008" stroke="0" extrusionOk="0">
                    <a:moveTo>
                      <a:pt x="0" y="0"/>
                    </a:moveTo>
                    <a:cubicBezTo>
                      <a:pt x="198218" y="-5782"/>
                      <a:pt x="307258" y="13867"/>
                      <a:pt x="588142" y="0"/>
                    </a:cubicBezTo>
                    <a:cubicBezTo>
                      <a:pt x="869026" y="-13867"/>
                      <a:pt x="1076747" y="-18863"/>
                      <a:pt x="1225296" y="0"/>
                    </a:cubicBezTo>
                    <a:cubicBezTo>
                      <a:pt x="1224547" y="20271"/>
                      <a:pt x="1227341" y="49605"/>
                      <a:pt x="1225296" y="64008"/>
                    </a:cubicBezTo>
                    <a:cubicBezTo>
                      <a:pt x="1084716" y="77175"/>
                      <a:pt x="895270" y="68921"/>
                      <a:pt x="600395" y="64008"/>
                    </a:cubicBezTo>
                    <a:cubicBezTo>
                      <a:pt x="305520" y="59095"/>
                      <a:pt x="226380" y="69504"/>
                      <a:pt x="0" y="64008"/>
                    </a:cubicBezTo>
                    <a:cubicBezTo>
                      <a:pt x="2854" y="41256"/>
                      <a:pt x="2167" y="1843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346402959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3" name="Rectangle 3">
                <a:extLst>
                  <a:ext uri="{FF2B5EF4-FFF2-40B4-BE49-F238E27FC236}">
                    <a16:creationId xmlns:a16="http://schemas.microsoft.com/office/drawing/2014/main" id="{6B68B2B9-0333-4B7B-A7BD-2262BF2EA7FA}"/>
                  </a:ext>
                </a:extLst>
              </p:cNvPr>
              <p:cNvSpPr/>
              <p:nvPr/>
            </p:nvSpPr>
            <p:spPr>
              <a:xfrm>
                <a:off x="-5323315" y="2472790"/>
                <a:ext cx="1143000" cy="64008"/>
              </a:xfrm>
              <a:custGeom>
                <a:avLst/>
                <a:gdLst>
                  <a:gd name="connsiteX0" fmla="*/ 0 w 1143000"/>
                  <a:gd name="connsiteY0" fmla="*/ 0 h 64008"/>
                  <a:gd name="connsiteX1" fmla="*/ 582930 w 1143000"/>
                  <a:gd name="connsiteY1" fmla="*/ 0 h 64008"/>
                  <a:gd name="connsiteX2" fmla="*/ 1143000 w 1143000"/>
                  <a:gd name="connsiteY2" fmla="*/ 0 h 64008"/>
                  <a:gd name="connsiteX3" fmla="*/ 1143000 w 1143000"/>
                  <a:gd name="connsiteY3" fmla="*/ 64008 h 64008"/>
                  <a:gd name="connsiteX4" fmla="*/ 548640 w 1143000"/>
                  <a:gd name="connsiteY4" fmla="*/ 64008 h 64008"/>
                  <a:gd name="connsiteX5" fmla="*/ 0 w 1143000"/>
                  <a:gd name="connsiteY5" fmla="*/ 64008 h 64008"/>
                  <a:gd name="connsiteX6" fmla="*/ 0 w 1143000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3000" h="64008" fill="none" extrusionOk="0">
                    <a:moveTo>
                      <a:pt x="0" y="0"/>
                    </a:moveTo>
                    <a:cubicBezTo>
                      <a:pt x="196792" y="25798"/>
                      <a:pt x="429753" y="17431"/>
                      <a:pt x="582930" y="0"/>
                    </a:cubicBezTo>
                    <a:cubicBezTo>
                      <a:pt x="736107" y="-17431"/>
                      <a:pt x="868284" y="11047"/>
                      <a:pt x="1143000" y="0"/>
                    </a:cubicBezTo>
                    <a:cubicBezTo>
                      <a:pt x="1142783" y="28692"/>
                      <a:pt x="1144823" y="49533"/>
                      <a:pt x="1143000" y="64008"/>
                    </a:cubicBezTo>
                    <a:cubicBezTo>
                      <a:pt x="1000009" y="71320"/>
                      <a:pt x="743492" y="56652"/>
                      <a:pt x="548640" y="64008"/>
                    </a:cubicBezTo>
                    <a:cubicBezTo>
                      <a:pt x="353788" y="71364"/>
                      <a:pt x="111089" y="53344"/>
                      <a:pt x="0" y="64008"/>
                    </a:cubicBezTo>
                    <a:cubicBezTo>
                      <a:pt x="-1284" y="37907"/>
                      <a:pt x="510" y="23488"/>
                      <a:pt x="0" y="0"/>
                    </a:cubicBezTo>
                    <a:close/>
                  </a:path>
                  <a:path w="1143000" h="64008" stroke="0" extrusionOk="0">
                    <a:moveTo>
                      <a:pt x="0" y="0"/>
                    </a:moveTo>
                    <a:cubicBezTo>
                      <a:pt x="117541" y="-13498"/>
                      <a:pt x="397443" y="-4271"/>
                      <a:pt x="548640" y="0"/>
                    </a:cubicBezTo>
                    <a:cubicBezTo>
                      <a:pt x="699837" y="4271"/>
                      <a:pt x="985872" y="6092"/>
                      <a:pt x="1143000" y="0"/>
                    </a:cubicBezTo>
                    <a:cubicBezTo>
                      <a:pt x="1141110" y="18002"/>
                      <a:pt x="1144863" y="37102"/>
                      <a:pt x="1143000" y="64008"/>
                    </a:cubicBezTo>
                    <a:cubicBezTo>
                      <a:pt x="955824" y="85198"/>
                      <a:pt x="760743" y="58192"/>
                      <a:pt x="560070" y="64008"/>
                    </a:cubicBezTo>
                    <a:cubicBezTo>
                      <a:pt x="359397" y="69825"/>
                      <a:pt x="177260" y="68505"/>
                      <a:pt x="0" y="64008"/>
                    </a:cubicBezTo>
                    <a:cubicBezTo>
                      <a:pt x="-80" y="37080"/>
                      <a:pt x="3083" y="1478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5822892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4" name="Rectangle 2">
                <a:extLst>
                  <a:ext uri="{FF2B5EF4-FFF2-40B4-BE49-F238E27FC236}">
                    <a16:creationId xmlns:a16="http://schemas.microsoft.com/office/drawing/2014/main" id="{27D1C8D1-ABED-4F7A-98E7-2D21AEBFE6BA}"/>
                  </a:ext>
                </a:extLst>
              </p:cNvPr>
              <p:cNvSpPr/>
              <p:nvPr/>
            </p:nvSpPr>
            <p:spPr>
              <a:xfrm>
                <a:off x="-5323314" y="2333083"/>
                <a:ext cx="1024128" cy="64008"/>
              </a:xfrm>
              <a:custGeom>
                <a:avLst/>
                <a:gdLst>
                  <a:gd name="connsiteX0" fmla="*/ 0 w 1024128"/>
                  <a:gd name="connsiteY0" fmla="*/ 0 h 64008"/>
                  <a:gd name="connsiteX1" fmla="*/ 481340 w 1024128"/>
                  <a:gd name="connsiteY1" fmla="*/ 0 h 64008"/>
                  <a:gd name="connsiteX2" fmla="*/ 1024128 w 1024128"/>
                  <a:gd name="connsiteY2" fmla="*/ 0 h 64008"/>
                  <a:gd name="connsiteX3" fmla="*/ 1024128 w 1024128"/>
                  <a:gd name="connsiteY3" fmla="*/ 64008 h 64008"/>
                  <a:gd name="connsiteX4" fmla="*/ 501823 w 1024128"/>
                  <a:gd name="connsiteY4" fmla="*/ 64008 h 64008"/>
                  <a:gd name="connsiteX5" fmla="*/ 0 w 1024128"/>
                  <a:gd name="connsiteY5" fmla="*/ 64008 h 64008"/>
                  <a:gd name="connsiteX6" fmla="*/ 0 w 1024128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4128" h="64008" fill="none" extrusionOk="0">
                    <a:moveTo>
                      <a:pt x="0" y="0"/>
                    </a:moveTo>
                    <a:cubicBezTo>
                      <a:pt x="152095" y="20991"/>
                      <a:pt x="334555" y="23200"/>
                      <a:pt x="481340" y="0"/>
                    </a:cubicBezTo>
                    <a:cubicBezTo>
                      <a:pt x="628125" y="-23200"/>
                      <a:pt x="840045" y="22638"/>
                      <a:pt x="1024128" y="0"/>
                    </a:cubicBezTo>
                    <a:cubicBezTo>
                      <a:pt x="1024361" y="15641"/>
                      <a:pt x="1022241" y="34909"/>
                      <a:pt x="1024128" y="64008"/>
                    </a:cubicBezTo>
                    <a:cubicBezTo>
                      <a:pt x="872011" y="67507"/>
                      <a:pt x="670760" y="55297"/>
                      <a:pt x="501823" y="64008"/>
                    </a:cubicBezTo>
                    <a:cubicBezTo>
                      <a:pt x="332887" y="72719"/>
                      <a:pt x="241077" y="81075"/>
                      <a:pt x="0" y="64008"/>
                    </a:cubicBezTo>
                    <a:cubicBezTo>
                      <a:pt x="3173" y="46995"/>
                      <a:pt x="-2625" y="25867"/>
                      <a:pt x="0" y="0"/>
                    </a:cubicBezTo>
                    <a:close/>
                  </a:path>
                  <a:path w="1024128" h="64008" stroke="0" extrusionOk="0">
                    <a:moveTo>
                      <a:pt x="0" y="0"/>
                    </a:moveTo>
                    <a:cubicBezTo>
                      <a:pt x="174117" y="-9070"/>
                      <a:pt x="332097" y="18994"/>
                      <a:pt x="491581" y="0"/>
                    </a:cubicBezTo>
                    <a:cubicBezTo>
                      <a:pt x="651065" y="-18994"/>
                      <a:pt x="781347" y="14766"/>
                      <a:pt x="1024128" y="0"/>
                    </a:cubicBezTo>
                    <a:cubicBezTo>
                      <a:pt x="1021881" y="30074"/>
                      <a:pt x="1025208" y="42635"/>
                      <a:pt x="1024128" y="64008"/>
                    </a:cubicBezTo>
                    <a:cubicBezTo>
                      <a:pt x="779831" y="72811"/>
                      <a:pt x="714135" y="64618"/>
                      <a:pt x="512064" y="64008"/>
                    </a:cubicBezTo>
                    <a:cubicBezTo>
                      <a:pt x="309993" y="63398"/>
                      <a:pt x="182074" y="42000"/>
                      <a:pt x="0" y="64008"/>
                    </a:cubicBezTo>
                    <a:cubicBezTo>
                      <a:pt x="-3178" y="36820"/>
                      <a:pt x="-2722" y="28161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3705000160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5" name="Rectangle 1">
                <a:extLst>
                  <a:ext uri="{FF2B5EF4-FFF2-40B4-BE49-F238E27FC236}">
                    <a16:creationId xmlns:a16="http://schemas.microsoft.com/office/drawing/2014/main" id="{97040F64-A5B9-488F-AB3A-562AF24361FB}"/>
                  </a:ext>
                </a:extLst>
              </p:cNvPr>
              <p:cNvSpPr/>
              <p:nvPr/>
            </p:nvSpPr>
            <p:spPr>
              <a:xfrm>
                <a:off x="-5323314" y="2193376"/>
                <a:ext cx="1225296" cy="64008"/>
              </a:xfrm>
              <a:custGeom>
                <a:avLst/>
                <a:gdLst>
                  <a:gd name="connsiteX0" fmla="*/ 0 w 1225296"/>
                  <a:gd name="connsiteY0" fmla="*/ 0 h 64008"/>
                  <a:gd name="connsiteX1" fmla="*/ 637154 w 1225296"/>
                  <a:gd name="connsiteY1" fmla="*/ 0 h 64008"/>
                  <a:gd name="connsiteX2" fmla="*/ 1225296 w 1225296"/>
                  <a:gd name="connsiteY2" fmla="*/ 0 h 64008"/>
                  <a:gd name="connsiteX3" fmla="*/ 1225296 w 1225296"/>
                  <a:gd name="connsiteY3" fmla="*/ 64008 h 64008"/>
                  <a:gd name="connsiteX4" fmla="*/ 624901 w 1225296"/>
                  <a:gd name="connsiteY4" fmla="*/ 64008 h 64008"/>
                  <a:gd name="connsiteX5" fmla="*/ 0 w 1225296"/>
                  <a:gd name="connsiteY5" fmla="*/ 64008 h 64008"/>
                  <a:gd name="connsiteX6" fmla="*/ 0 w 1225296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5296" h="64008" fill="none" extrusionOk="0">
                    <a:moveTo>
                      <a:pt x="0" y="0"/>
                    </a:moveTo>
                    <a:cubicBezTo>
                      <a:pt x="197945" y="19672"/>
                      <a:pt x="466450" y="8891"/>
                      <a:pt x="637154" y="0"/>
                    </a:cubicBezTo>
                    <a:cubicBezTo>
                      <a:pt x="807858" y="-8891"/>
                      <a:pt x="964742" y="-18904"/>
                      <a:pt x="1225296" y="0"/>
                    </a:cubicBezTo>
                    <a:cubicBezTo>
                      <a:pt x="1228443" y="21123"/>
                      <a:pt x="1223824" y="35558"/>
                      <a:pt x="1225296" y="64008"/>
                    </a:cubicBezTo>
                    <a:cubicBezTo>
                      <a:pt x="950803" y="39218"/>
                      <a:pt x="841749" y="94027"/>
                      <a:pt x="624901" y="64008"/>
                    </a:cubicBezTo>
                    <a:cubicBezTo>
                      <a:pt x="408053" y="33989"/>
                      <a:pt x="146966" y="43355"/>
                      <a:pt x="0" y="64008"/>
                    </a:cubicBezTo>
                    <a:cubicBezTo>
                      <a:pt x="-2411" y="33843"/>
                      <a:pt x="1447" y="23221"/>
                      <a:pt x="0" y="0"/>
                    </a:cubicBezTo>
                    <a:close/>
                  </a:path>
                  <a:path w="1225296" h="64008" stroke="0" extrusionOk="0">
                    <a:moveTo>
                      <a:pt x="0" y="0"/>
                    </a:moveTo>
                    <a:cubicBezTo>
                      <a:pt x="180948" y="6243"/>
                      <a:pt x="452622" y="8976"/>
                      <a:pt x="600395" y="0"/>
                    </a:cubicBezTo>
                    <a:cubicBezTo>
                      <a:pt x="748169" y="-8976"/>
                      <a:pt x="1078884" y="-5806"/>
                      <a:pt x="1225296" y="0"/>
                    </a:cubicBezTo>
                    <a:cubicBezTo>
                      <a:pt x="1226792" y="25188"/>
                      <a:pt x="1225733" y="50929"/>
                      <a:pt x="1225296" y="64008"/>
                    </a:cubicBezTo>
                    <a:cubicBezTo>
                      <a:pt x="1002268" y="62601"/>
                      <a:pt x="847852" y="52829"/>
                      <a:pt x="612648" y="64008"/>
                    </a:cubicBezTo>
                    <a:cubicBezTo>
                      <a:pt x="377444" y="75187"/>
                      <a:pt x="244264" y="72364"/>
                      <a:pt x="0" y="64008"/>
                    </a:cubicBezTo>
                    <a:cubicBezTo>
                      <a:pt x="-2503" y="44586"/>
                      <a:pt x="3172" y="2066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21" name="Centered Placeholder Text 5">
            <a:extLst>
              <a:ext uri="{FF2B5EF4-FFF2-40B4-BE49-F238E27FC236}">
                <a16:creationId xmlns:a16="http://schemas.microsoft.com/office/drawing/2014/main" id="{1221BD73-E7FC-43D1-B493-EAB7CAA1AD9D}"/>
              </a:ext>
            </a:extLst>
          </p:cNvPr>
          <p:cNvSpPr txBox="1"/>
          <p:nvPr/>
        </p:nvSpPr>
        <p:spPr>
          <a:xfrm>
            <a:off x="9423343" y="5574014"/>
            <a:ext cx="210525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e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cte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dipisci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ipiscing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ed do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iusmo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mpo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ididu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e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olore magna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i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d nisi minim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enia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ostru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ercitation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llamco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isi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ip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modo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qu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22" name="Placeholder Text 4">
            <a:extLst>
              <a:ext uri="{FF2B5EF4-FFF2-40B4-BE49-F238E27FC236}">
                <a16:creationId xmlns:a16="http://schemas.microsoft.com/office/drawing/2014/main" id="{48989EC7-90E2-4EA9-BB49-B064B2940328}"/>
              </a:ext>
            </a:extLst>
          </p:cNvPr>
          <p:cNvSpPr txBox="1"/>
          <p:nvPr/>
        </p:nvSpPr>
        <p:spPr>
          <a:xfrm>
            <a:off x="9379476" y="4441410"/>
            <a:ext cx="210525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uis aute irure dolor in reprehenderit in voluptate velit esse cillum dolore eu fugia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ull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ria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cepte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i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ccaec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upidat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on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oide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unt in culpa qui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ffici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seru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ol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i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id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s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u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nde omnis iste natus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23" name="Placeholder Text 3">
            <a:extLst>
              <a:ext uri="{FF2B5EF4-FFF2-40B4-BE49-F238E27FC236}">
                <a16:creationId xmlns:a16="http://schemas.microsoft.com/office/drawing/2014/main" id="{480B71E9-C04E-432F-AE67-6BED402D481A}"/>
              </a:ext>
            </a:extLst>
          </p:cNvPr>
          <p:cNvSpPr txBox="1"/>
          <p:nvPr/>
        </p:nvSpPr>
        <p:spPr>
          <a:xfrm>
            <a:off x="9379476" y="3658141"/>
            <a:ext cx="210525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e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cte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ipiscing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ed do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iusmo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mpo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ididu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e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olore magna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i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d minim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enia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ostru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ercitation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llamco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isi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ip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modo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qu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25" name="Placeholder Text 2">
            <a:extLst>
              <a:ext uri="{FF2B5EF4-FFF2-40B4-BE49-F238E27FC236}">
                <a16:creationId xmlns:a16="http://schemas.microsoft.com/office/drawing/2014/main" id="{11FF7A72-8A6C-435B-8F94-172E2EBBFBC4}"/>
              </a:ext>
            </a:extLst>
          </p:cNvPr>
          <p:cNvSpPr txBox="1"/>
          <p:nvPr/>
        </p:nvSpPr>
        <p:spPr>
          <a:xfrm>
            <a:off x="9359469" y="2570225"/>
            <a:ext cx="1526615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uis aute irure dolor in reprehenderit in voluptate velit esse cillum dolore eu fugia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ull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ria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cepte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i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ccaec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upidat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on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ol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unt culpa.</a:t>
            </a:r>
          </a:p>
        </p:txBody>
      </p:sp>
      <p:sp>
        <p:nvSpPr>
          <p:cNvPr id="326" name="Placeholder Text 1">
            <a:extLst>
              <a:ext uri="{FF2B5EF4-FFF2-40B4-BE49-F238E27FC236}">
                <a16:creationId xmlns:a16="http://schemas.microsoft.com/office/drawing/2014/main" id="{110E205E-E24C-455A-9F7F-B958F24B0D93}"/>
              </a:ext>
            </a:extLst>
          </p:cNvPr>
          <p:cNvSpPr txBox="1"/>
          <p:nvPr/>
        </p:nvSpPr>
        <p:spPr>
          <a:xfrm>
            <a:off x="9359470" y="1711429"/>
            <a:ext cx="1526615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e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cte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ipiscing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ed do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iusmo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mpo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ididu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e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olore magna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i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d minim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enia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27" name="Text Placeholder Title">
            <a:extLst>
              <a:ext uri="{FF2B5EF4-FFF2-40B4-BE49-F238E27FC236}">
                <a16:creationId xmlns:a16="http://schemas.microsoft.com/office/drawing/2014/main" id="{D6F22E4C-7838-4C85-8699-2D55C6CD7B84}"/>
              </a:ext>
            </a:extLst>
          </p:cNvPr>
          <p:cNvSpPr txBox="1"/>
          <p:nvPr/>
        </p:nvSpPr>
        <p:spPr>
          <a:xfrm>
            <a:off x="7418387" y="1077544"/>
            <a:ext cx="2427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</a:rPr>
              <a:t>Text Placeholder</a:t>
            </a:r>
          </a:p>
        </p:txBody>
      </p:sp>
      <p:sp>
        <p:nvSpPr>
          <p:cNvPr id="328" name="Slide Title">
            <a:extLst>
              <a:ext uri="{FF2B5EF4-FFF2-40B4-BE49-F238E27FC236}">
                <a16:creationId xmlns:a16="http://schemas.microsoft.com/office/drawing/2014/main" id="{15DB4655-748E-4913-BCA5-EE9A62ABBBBC}"/>
              </a:ext>
            </a:extLst>
          </p:cNvPr>
          <p:cNvSpPr txBox="1">
            <a:spLocks/>
          </p:cNvSpPr>
          <p:nvPr/>
        </p:nvSpPr>
        <p:spPr>
          <a:xfrm>
            <a:off x="209357" y="-32757"/>
            <a:ext cx="5019868" cy="9540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rgbClr val="D83B0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xtended Toolkit</a:t>
            </a:r>
          </a:p>
        </p:txBody>
      </p:sp>
    </p:spTree>
    <p:extLst>
      <p:ext uri="{BB962C8B-B14F-4D97-AF65-F5344CB8AC3E}">
        <p14:creationId xmlns:p14="http://schemas.microsoft.com/office/powerpoint/2010/main" val="1451016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ynamics 365">
  <a:themeElements>
    <a:clrScheme name="Dynamics365">
      <a:dk1>
        <a:srgbClr val="3C3C41"/>
      </a:dk1>
      <a:lt1>
        <a:srgbClr val="FFFFFF"/>
      </a:lt1>
      <a:dk2>
        <a:srgbClr val="008272"/>
      </a:dk2>
      <a:lt2>
        <a:srgbClr val="FFFFFF"/>
      </a:lt2>
      <a:accent1>
        <a:srgbClr val="EBEBEB"/>
      </a:accent1>
      <a:accent2>
        <a:srgbClr val="75757A"/>
      </a:accent2>
      <a:accent3>
        <a:srgbClr val="3C3C41"/>
      </a:accent3>
      <a:accent4>
        <a:srgbClr val="008272"/>
      </a:accent4>
      <a:accent5>
        <a:srgbClr val="30E5D0"/>
      </a:accent5>
      <a:accent6>
        <a:srgbClr val="FEF000"/>
      </a:accent6>
      <a:hlink>
        <a:srgbClr val="0078D4"/>
      </a:hlink>
      <a:folHlink>
        <a:srgbClr val="0078D4"/>
      </a:folHlink>
    </a:clrScheme>
    <a:fontScheme name="Dynamics 36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8EF47BD7-F710-45A9-8AE8-D03654F6711E}" vid="{3CF6A8A8-DA63-4A8A-A544-BAFFF90A76C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51894D77699243961EC8007579EBAB" ma:contentTypeVersion="21" ma:contentTypeDescription="Create a new document." ma:contentTypeScope="" ma:versionID="7c785edd45e5ae86f48a0a4b7d26da4a">
  <xsd:schema xmlns:xsd="http://www.w3.org/2001/XMLSchema" xmlns:xs="http://www.w3.org/2001/XMLSchema" xmlns:p="http://schemas.microsoft.com/office/2006/metadata/properties" xmlns:ns2="c8eec1e0-d60d-49f9-97a9-4c2499717aac" xmlns:ns3="1bcac8b8-6a52-4ea0-bd25-20dc411db8f2" targetNamespace="http://schemas.microsoft.com/office/2006/metadata/properties" ma:root="true" ma:fieldsID="18d0cf177017b7bba96a6a5e9f013f33" ns2:_="" ns3:_="">
    <xsd:import namespace="c8eec1e0-d60d-49f9-97a9-4c2499717aac"/>
    <xsd:import namespace="1bcac8b8-6a52-4ea0-bd25-20dc411db8f2"/>
    <xsd:element name="properties">
      <xsd:complexType>
        <xsd:sequence>
          <xsd:element name="documentManagement">
            <xsd:complexType>
              <xsd:all>
                <xsd:element ref="ns2:PublishingStartDate" minOccurs="0"/>
                <xsd:element ref="ns2:PublishingExpirationDat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eec1e0-d60d-49f9-97a9-4c2499717aac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format="DateTime" ma:internalName="PublishingStartDate" ma:readOnly="fals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format="DateTime" ma:internalName="PublishingExpirationDate" ma:readOnly="false">
      <xsd:simpleType>
        <xsd:restriction base="dms:Unknown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cac8b8-6a52-4ea0-bd25-20dc411db8f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c8eec1e0-d60d-49f9-97a9-4c2499717aac" xsi:nil="true"/>
    <PublishingExpirationDate xmlns="c8eec1e0-d60d-49f9-97a9-4c2499717aac" xsi:nil="true"/>
    <PublishingStartDate xmlns="c8eec1e0-d60d-49f9-97a9-4c2499717aac" xsi:nil="true"/>
  </documentManagement>
</p:properties>
</file>

<file path=customXml/item3.xml><?xml version="1.0" encoding="utf-8"?>
<?mso-contentType ?>
<FormTemplates xmlns="http://schemas.microsoft.com/sharepoint/v3/contenttype/forms"/>
</file>

<file path=customXml/itemProps1.xml><?xml version="1.0" encoding="utf-8"?>
<ds:datastoreItem xmlns:ds="http://schemas.openxmlformats.org/officeDocument/2006/customXml" ds:itemID="{A877B348-4339-4629-918E-67642A6C92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eec1e0-d60d-49f9-97a9-4c2499717aac"/>
    <ds:schemaRef ds:uri="1bcac8b8-6a52-4ea0-bd25-20dc411db8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AAAE564-758D-4BA2-87B5-B5A5A989E78C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06670dda-0291-4061-b6e0-f6c0cb392c51"/>
    <ds:schemaRef ds:uri="http://schemas.microsoft.com/sharepoint/v3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e4aa919a-b200-49cb-beca-4c7e0810321e"/>
    <ds:schemaRef ds:uri="http://www.w3.org/XML/1998/namespace"/>
    <ds:schemaRef ds:uri="http://purl.org/dc/dcmitype/"/>
    <ds:schemaRef ds:uri="c8eec1e0-d60d-49f9-97a9-4c2499717aac"/>
  </ds:schemaRefs>
</ds:datastoreItem>
</file>

<file path=customXml/itemProps3.xml><?xml version="1.0" encoding="utf-8"?>
<ds:datastoreItem xmlns:ds="http://schemas.openxmlformats.org/officeDocument/2006/customXml" ds:itemID="{E94DD20C-3C3B-46A8-899C-E860E4250F4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76</Words>
  <Application>Microsoft Office PowerPoint</Application>
  <PresentationFormat>Widescreen</PresentationFormat>
  <Paragraphs>169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Segoe UI</vt:lpstr>
      <vt:lpstr>Segoe UI Semibold</vt:lpstr>
      <vt:lpstr>Segoe UI Semilight</vt:lpstr>
      <vt:lpstr>Wingdings</vt:lpstr>
      <vt:lpstr>Office Theme</vt:lpstr>
      <vt:lpstr>Dynamics 365</vt:lpstr>
      <vt:lpstr>think-cell Slide</vt:lpstr>
      <vt:lpstr>Draft your designs</vt:lpstr>
      <vt:lpstr>Group Details</vt:lpstr>
      <vt:lpstr>Data Source</vt:lpstr>
      <vt:lpstr>Main Page</vt:lpstr>
      <vt:lpstr>Basic Toolki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8-09T00:21:28Z</dcterms:created>
  <dcterms:modified xsi:type="dcterms:W3CDTF">2021-07-13T12:3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51894D77699243961EC8007579EBAB</vt:lpwstr>
  </property>
</Properties>
</file>